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98" r:id="rId4"/>
  </p:sldMasterIdLst>
  <p:notesMasterIdLst>
    <p:notesMasterId r:id="rId36"/>
  </p:notesMasterIdLst>
  <p:handoutMasterIdLst>
    <p:handoutMasterId r:id="rId37"/>
  </p:handoutMasterIdLst>
  <p:sldIdLst>
    <p:sldId id="1845" r:id="rId5"/>
    <p:sldId id="4286" r:id="rId6"/>
    <p:sldId id="4383" r:id="rId7"/>
    <p:sldId id="1981" r:id="rId8"/>
    <p:sldId id="4284" r:id="rId9"/>
    <p:sldId id="4264" r:id="rId10"/>
    <p:sldId id="4285" r:id="rId11"/>
    <p:sldId id="2145706894" r:id="rId12"/>
    <p:sldId id="4265" r:id="rId13"/>
    <p:sldId id="1904" r:id="rId14"/>
    <p:sldId id="1933" r:id="rId15"/>
    <p:sldId id="2145706874" r:id="rId16"/>
    <p:sldId id="1848" r:id="rId17"/>
    <p:sldId id="4275" r:id="rId18"/>
    <p:sldId id="4314" r:id="rId19"/>
    <p:sldId id="4257" r:id="rId20"/>
    <p:sldId id="4256" r:id="rId21"/>
    <p:sldId id="2145706833" r:id="rId22"/>
    <p:sldId id="2145706886" r:id="rId23"/>
    <p:sldId id="2145706887" r:id="rId24"/>
    <p:sldId id="2145706888" r:id="rId25"/>
    <p:sldId id="2145706890" r:id="rId26"/>
    <p:sldId id="2145706893" r:id="rId27"/>
    <p:sldId id="2145706891" r:id="rId28"/>
    <p:sldId id="2145706892" r:id="rId29"/>
    <p:sldId id="2145706877" r:id="rId30"/>
    <p:sldId id="2145706885" r:id="rId31"/>
    <p:sldId id="4384" r:id="rId32"/>
    <p:sldId id="1847" r:id="rId33"/>
    <p:sldId id="2145706804" r:id="rId34"/>
    <p:sldId id="579" r:id="rId35"/>
  </p:sldIdLst>
  <p:sldSz cx="31089600" cy="15508288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86" userDrawn="1">
          <p15:clr>
            <a:srgbClr val="A4A3A4"/>
          </p15:clr>
        </p15:guide>
        <p15:guide id="2" pos="97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ABF054-BB14-DC53-E148-06B1F6ABAECE}" name="Aghasarkissian, Nare" initials="AN" userId="S::NAGHASARKISSIAN@panynj.gov::b0f0288e-571f-4e45-b15c-bcb81cf32345" providerId="AD"/>
  <p188:author id="{2AA7C7E8-C736-9094-CE4C-9EAB5938E52E}" name="Karachaliou, Dimitra" initials="KD" userId="S::dkarachaliou@panynj.gov::04e0cc5e-68f5-48d7-aab3-ec9b1945610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enmakers, Bonnie" initials="SB" lastIdx="66" clrIdx="0">
    <p:extLst>
      <p:ext uri="{19B8F6BF-5375-455C-9EA6-DF929625EA0E}">
        <p15:presenceInfo xmlns:p15="http://schemas.microsoft.com/office/powerpoint/2012/main" userId="S::bschoenmakers@panynj.gov::0a9ff201-9b02-42a3-b1dd-33d1fa4042fe" providerId="AD"/>
      </p:ext>
    </p:extLst>
  </p:cmAuthor>
  <p:cmAuthor id="2" name="Schoenmakers, Bonnie" initials="SB [2]" lastIdx="19" clrIdx="1">
    <p:extLst>
      <p:ext uri="{19B8F6BF-5375-455C-9EA6-DF929625EA0E}">
        <p15:presenceInfo xmlns:p15="http://schemas.microsoft.com/office/powerpoint/2012/main" userId="S::Bonnie.Schoenmakers@arcadis-us.com::372ac3ba-e59a-4430-919a-a3094fdcfb5d" providerId="AD"/>
      </p:ext>
    </p:extLst>
  </p:cmAuthor>
  <p:cmAuthor id="3" name="sjanjua@panynj.gov" initials="sj" lastIdx="1" clrIdx="2">
    <p:extLst>
      <p:ext uri="{19B8F6BF-5375-455C-9EA6-DF929625EA0E}">
        <p15:presenceInfo xmlns:p15="http://schemas.microsoft.com/office/powerpoint/2012/main" userId="S::urn:spo:guest#sjanjua@panynj.gov::" providerId="AD"/>
      </p:ext>
    </p:extLst>
  </p:cmAuthor>
  <p:cmAuthor id="4" name="Karachaliou, Dimitra" initials="KD" lastIdx="10" clrIdx="3">
    <p:extLst>
      <p:ext uri="{19B8F6BF-5375-455C-9EA6-DF929625EA0E}">
        <p15:presenceInfo xmlns:p15="http://schemas.microsoft.com/office/powerpoint/2012/main" userId="S::dkarachaliou@panynj.gov::04e0cc5e-68f5-48d7-aab3-ec9b19456109" providerId="AD"/>
      </p:ext>
    </p:extLst>
  </p:cmAuthor>
  <p:cmAuthor id="5" name="Sipsey, Brian" initials="SB" lastIdx="2" clrIdx="4">
    <p:extLst>
      <p:ext uri="{19B8F6BF-5375-455C-9EA6-DF929625EA0E}">
        <p15:presenceInfo xmlns:p15="http://schemas.microsoft.com/office/powerpoint/2012/main" userId="S::Brian.Sipsey@aecom.com::8fe5fb82-dce4-4089-9f6c-ecc3891bd509" providerId="AD"/>
      </p:ext>
    </p:extLst>
  </p:cmAuthor>
  <p:cmAuthor id="6" name="Sipsey, Brian" initials="SB [2]" lastIdx="1" clrIdx="5">
    <p:extLst>
      <p:ext uri="{19B8F6BF-5375-455C-9EA6-DF929625EA0E}">
        <p15:presenceInfo xmlns:p15="http://schemas.microsoft.com/office/powerpoint/2012/main" userId="Sipsey, Br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2DB7"/>
    <a:srgbClr val="FFFF00"/>
    <a:srgbClr val="E4610F"/>
    <a:srgbClr val="FFC000"/>
    <a:srgbClr val="70AD47"/>
    <a:srgbClr val="00A9E4"/>
    <a:srgbClr val="DDCDC8"/>
    <a:srgbClr val="445671"/>
    <a:srgbClr val="44566F"/>
    <a:srgbClr val="FF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981" autoAdjust="0"/>
  </p:normalViewPr>
  <p:slideViewPr>
    <p:cSldViewPr snapToGrid="0">
      <p:cViewPr varScale="1">
        <p:scale>
          <a:sx n="23" d="100"/>
          <a:sy n="23" d="100"/>
        </p:scale>
        <p:origin x="936" y="48"/>
      </p:cViewPr>
      <p:guideLst>
        <p:guide orient="horz" pos="4886"/>
        <p:guide pos="97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C92ACD-00DB-4956-AA69-A74DDD6815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706017-016E-4B65-B2ED-ADA1457262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5EC2963-AB4D-4F1E-89EF-5A38530C6701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A6B121-A2D4-43E0-A4A8-330E5660877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ACA47B-C7DA-4106-A2FE-0ABED4C7757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F05B3E5-04DF-4956-8FE3-6D1A8AC92F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257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E9FD949-07EE-FF4E-9603-630A64395B35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0363" y="1162050"/>
            <a:ext cx="62896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0D8CFA8-D0D6-0849-80DF-BA65486601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962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1pPr>
    <a:lvl2pPr marL="1080115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2pPr>
    <a:lvl3pPr marL="2160232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3pPr>
    <a:lvl4pPr marL="3240347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4pPr>
    <a:lvl5pPr marL="4320462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5pPr>
    <a:lvl6pPr marL="5400574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6pPr>
    <a:lvl7pPr marL="6480691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7pPr>
    <a:lvl8pPr marL="7560806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8pPr>
    <a:lvl9pPr marL="8640921" algn="l" defTabSz="2160232" rtl="0" eaLnBrk="1" latinLnBrk="0" hangingPunct="1">
      <a:defRPr sz="283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9789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4763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8745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724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82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C55B8A-C5DE-4D47-97EA-5DFACE78606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6041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3099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</a:rPr>
              <a:t>Confirm what we have</a:t>
            </a:r>
          </a:p>
          <a:p>
            <a:endParaRPr lang="en-US" b="1" dirty="0"/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/>
              <a:t>Define what ‘technology’ is in the Engineering Department.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/>
              <a:t>Confirm technology provision within the department through surveys, workshops, user workshops and metering of software. 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/>
              <a:t>Map technology provision against lifecycle, division, and capability / service.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>
                <a:solidFill>
                  <a:schemeClr val="bg1"/>
                </a:solidFill>
              </a:rPr>
              <a:t>Confirm strengths and weaknesses with current technology and systems provision. 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3200" dirty="0"/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3200" dirty="0"/>
          </a:p>
          <a:p>
            <a:pPr marL="0" marR="0" lvl="0" indent="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3200" dirty="0"/>
              <a:t>Rationalize and optimize </a:t>
            </a:r>
          </a:p>
          <a:p>
            <a:pPr marL="0" marR="0" lvl="0" indent="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3200" dirty="0"/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3200" dirty="0"/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/>
              <a:t>Define technical and functional requirements per user group / technology. 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3200" dirty="0"/>
              <a:t>Analyze any interdependencies and overlaps between technology and eliminate overlaps and redundancy in technology provision</a:t>
            </a:r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3200" dirty="0"/>
          </a:p>
          <a:p>
            <a:pPr marL="514350" marR="0" lvl="0" indent="-514350" algn="l" defTabSz="2160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sz="3200" dirty="0"/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180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0948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4453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>
              <a:lnSpc>
                <a:spcPct val="120000"/>
              </a:lnSpc>
              <a:spcBef>
                <a:spcPts val="1000"/>
              </a:spcBef>
              <a:defRPr/>
            </a:pPr>
            <a:endParaRPr lang="en-US" sz="3200" dirty="0">
              <a:solidFill>
                <a:sysClr val="windowText" lastClr="000000"/>
              </a:solidFill>
              <a:latin typeface="+mj-lt"/>
              <a:cs typeface="Calibri Ligh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284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r>
              <a:rPr lang="en-US" sz="3200" b="1" dirty="0">
                <a:solidFill>
                  <a:schemeClr val="tx2"/>
                </a:solidFill>
              </a:rPr>
              <a:t>LEARNING OUTCOMES</a:t>
            </a:r>
          </a:p>
          <a:p>
            <a:pPr marL="742950" indent="-742950">
              <a:buFont typeface="+mj-lt"/>
              <a:buAutoNum type="arabicPeriod"/>
            </a:pPr>
            <a:endParaRPr lang="en-US" sz="3200" dirty="0">
              <a:solidFill>
                <a:schemeClr val="tx2"/>
              </a:solidFill>
            </a:endParaRPr>
          </a:p>
          <a:p>
            <a:pPr marL="742950" indent="-742950">
              <a:buFont typeface="+mj-lt"/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Understand Digital Transformation in the context of a large infrastructure owner’s engineering department.</a:t>
            </a:r>
          </a:p>
          <a:p>
            <a:pPr marL="742950" indent="-742950">
              <a:buFont typeface="+mj-lt"/>
              <a:buAutoNum type="arabicPeriod"/>
            </a:pPr>
            <a:endParaRPr lang="en-US" sz="3200" dirty="0">
              <a:solidFill>
                <a:schemeClr val="tx2"/>
              </a:solidFill>
            </a:endParaRPr>
          </a:p>
          <a:p>
            <a:pPr marL="742950" indent="-742950">
              <a:buFont typeface="+mj-lt"/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Explore how to develop a Digital Transformation Program, manage innovation and how to measure successful implementation.</a:t>
            </a:r>
          </a:p>
          <a:p>
            <a:pPr marL="742950" indent="-742950">
              <a:buFont typeface="+mj-lt"/>
              <a:buAutoNum type="arabicPeriod"/>
            </a:pPr>
            <a:endParaRPr lang="en-US" sz="3200" dirty="0">
              <a:solidFill>
                <a:schemeClr val="tx2"/>
              </a:solidFill>
            </a:endParaRPr>
          </a:p>
          <a:p>
            <a:pPr marL="742950" indent="-742950">
              <a:buFont typeface="+mj-lt"/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Discover real world methodologies on change management, lean, agile and product development to create and/or enhance organizational capabilities.</a:t>
            </a:r>
          </a:p>
          <a:p>
            <a:pPr marL="742950" indent="-742950">
              <a:buFont typeface="+mj-lt"/>
              <a:buAutoNum type="arabicPeriod"/>
            </a:pPr>
            <a:endParaRPr lang="en-US" sz="3200" dirty="0">
              <a:solidFill>
                <a:schemeClr val="tx2"/>
              </a:solidFill>
            </a:endParaRPr>
          </a:p>
          <a:p>
            <a:pPr marL="742950" indent="-742950">
              <a:buFont typeface="+mj-lt"/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Analyze real world examples of improvement initiatives and how they collectively support transformation effor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0407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9559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254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648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045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1487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24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2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212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endParaRPr lang="en-US" sz="2800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28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D8CFA8-D0D6-0849-80DF-BA654866014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267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image" Target="../media/image2.emf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hyperlink" Target="http://www.panynj.gov/" TargetMode="External"/><Relationship Id="rId7" Type="http://schemas.openxmlformats.org/officeDocument/2006/relationships/hyperlink" Target="http://www.twitter.com/PANYNJ" TargetMode="External"/><Relationship Id="rId12" Type="http://schemas.openxmlformats.org/officeDocument/2006/relationships/image" Target="../media/image4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9.png"/><Relationship Id="rId11" Type="http://schemas.openxmlformats.org/officeDocument/2006/relationships/hyperlink" Target="http://www.linkedin.com/company/port-authority-of-ny-&amp;-nj" TargetMode="External"/><Relationship Id="rId5" Type="http://schemas.openxmlformats.org/officeDocument/2006/relationships/hyperlink" Target="http://www.facebook.com/PANYNJ" TargetMode="External"/><Relationship Id="rId10" Type="http://schemas.openxmlformats.org/officeDocument/2006/relationships/image" Target="../media/image41.png"/><Relationship Id="rId4" Type="http://schemas.openxmlformats.org/officeDocument/2006/relationships/image" Target="../media/image38.png"/><Relationship Id="rId9" Type="http://schemas.openxmlformats.org/officeDocument/2006/relationships/hyperlink" Target="http://www.instagram.com/PANYNJ" TargetMode="Externa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hyperlink" Target="http://www.panynj.gov/" TargetMode="External"/><Relationship Id="rId7" Type="http://schemas.openxmlformats.org/officeDocument/2006/relationships/hyperlink" Target="http://www.twitter.com/PANYNJ" TargetMode="External"/><Relationship Id="rId12" Type="http://schemas.openxmlformats.org/officeDocument/2006/relationships/image" Target="../media/image4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9.png"/><Relationship Id="rId11" Type="http://schemas.openxmlformats.org/officeDocument/2006/relationships/hyperlink" Target="http://www.linkedin.com/company/port-authority-of-ny-&amp;-nj" TargetMode="External"/><Relationship Id="rId5" Type="http://schemas.openxmlformats.org/officeDocument/2006/relationships/hyperlink" Target="http://www.facebook.com/PANYNJ" TargetMode="External"/><Relationship Id="rId10" Type="http://schemas.openxmlformats.org/officeDocument/2006/relationships/image" Target="../media/image41.png"/><Relationship Id="rId4" Type="http://schemas.openxmlformats.org/officeDocument/2006/relationships/image" Target="../media/image38.png"/><Relationship Id="rId9" Type="http://schemas.openxmlformats.org/officeDocument/2006/relationships/hyperlink" Target="http://www.instagram.com/PANYNJ" TargetMode="Externa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hyperlink" Target="http://www.panynj.gov/" TargetMode="External"/><Relationship Id="rId7" Type="http://schemas.openxmlformats.org/officeDocument/2006/relationships/hyperlink" Target="http://www.twitter.com/PANYNJ" TargetMode="External"/><Relationship Id="rId12" Type="http://schemas.openxmlformats.org/officeDocument/2006/relationships/image" Target="../media/image42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9.png"/><Relationship Id="rId11" Type="http://schemas.openxmlformats.org/officeDocument/2006/relationships/hyperlink" Target="http://www.linkedin.com/company/port-authority-of-ny-&amp;-nj" TargetMode="External"/><Relationship Id="rId5" Type="http://schemas.openxmlformats.org/officeDocument/2006/relationships/hyperlink" Target="http://www.facebook.com/PANYNJ" TargetMode="External"/><Relationship Id="rId10" Type="http://schemas.openxmlformats.org/officeDocument/2006/relationships/image" Target="../media/image41.png"/><Relationship Id="rId4" Type="http://schemas.openxmlformats.org/officeDocument/2006/relationships/image" Target="../media/image38.png"/><Relationship Id="rId9" Type="http://schemas.openxmlformats.org/officeDocument/2006/relationships/hyperlink" Target="http://www.instagram.com/PANYNJ" TargetMode="Externa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://www.facebook.com/PANYNJ" TargetMode="External"/><Relationship Id="rId7" Type="http://schemas.openxmlformats.org/officeDocument/2006/relationships/hyperlink" Target="http://www.instagram.com/PANYNJ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4.png"/><Relationship Id="rId5" Type="http://schemas.openxmlformats.org/officeDocument/2006/relationships/hyperlink" Target="http://www.twitter.com/PANYNJ" TargetMode="External"/><Relationship Id="rId10" Type="http://schemas.openxmlformats.org/officeDocument/2006/relationships/image" Target="../media/image38.png"/><Relationship Id="rId4" Type="http://schemas.openxmlformats.org/officeDocument/2006/relationships/image" Target="../media/image43.png"/><Relationship Id="rId9" Type="http://schemas.openxmlformats.org/officeDocument/2006/relationships/hyperlink" Target="http://www.panynj.gov/" TargetMode="Externa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://www.facebook.com/PANYNJ" TargetMode="External"/><Relationship Id="rId7" Type="http://schemas.openxmlformats.org/officeDocument/2006/relationships/hyperlink" Target="http://www.instagram.com/PANYNJ" TargetMode="External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4.png"/><Relationship Id="rId5" Type="http://schemas.openxmlformats.org/officeDocument/2006/relationships/hyperlink" Target="http://www.twitter.com/PANYNJ" TargetMode="External"/><Relationship Id="rId10" Type="http://schemas.openxmlformats.org/officeDocument/2006/relationships/image" Target="../media/image38.png"/><Relationship Id="rId4" Type="http://schemas.openxmlformats.org/officeDocument/2006/relationships/image" Target="../media/image43.png"/><Relationship Id="rId9" Type="http://schemas.openxmlformats.org/officeDocument/2006/relationships/hyperlink" Target="http://www.panynj.gov/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://www.facebook.com/PANYNJ" TargetMode="External"/><Relationship Id="rId7" Type="http://schemas.openxmlformats.org/officeDocument/2006/relationships/hyperlink" Target="http://www.instagram.com/PANYNJ" TargetMode="External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4.png"/><Relationship Id="rId5" Type="http://schemas.openxmlformats.org/officeDocument/2006/relationships/hyperlink" Target="http://www.twitter.com/PANYNJ" TargetMode="External"/><Relationship Id="rId10" Type="http://schemas.openxmlformats.org/officeDocument/2006/relationships/image" Target="../media/image38.png"/><Relationship Id="rId4" Type="http://schemas.openxmlformats.org/officeDocument/2006/relationships/image" Target="../media/image43.png"/><Relationship Id="rId9" Type="http://schemas.openxmlformats.org/officeDocument/2006/relationships/hyperlink" Target="http://www.panynj.gov/" TargetMode="Externa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image" Target="../media/image2.emf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image" Target="../media/image1.pn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image" Target="../media/image2.emf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image" Target="../media/image2.emf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2538047"/>
            <a:ext cx="23317200" cy="5399182"/>
          </a:xfrm>
        </p:spPr>
        <p:txBody>
          <a:bodyPr anchor="b"/>
          <a:lstStyle>
            <a:lvl1pPr algn="ctr">
              <a:defRPr sz="1356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86200" y="8145442"/>
            <a:ext cx="23317200" cy="3744245"/>
          </a:xfrm>
        </p:spPr>
        <p:txBody>
          <a:bodyPr/>
          <a:lstStyle>
            <a:lvl1pPr marL="0" indent="0" algn="ctr">
              <a:buNone/>
              <a:defRPr sz="5427"/>
            </a:lvl1pPr>
            <a:lvl2pPr marL="1033866" indent="0" algn="ctr">
              <a:buNone/>
              <a:defRPr sz="4523"/>
            </a:lvl2pPr>
            <a:lvl3pPr marL="2067733" indent="0" algn="ctr">
              <a:buNone/>
              <a:defRPr sz="4070"/>
            </a:lvl3pPr>
            <a:lvl4pPr marL="3101599" indent="0" algn="ctr">
              <a:buNone/>
              <a:defRPr sz="3618"/>
            </a:lvl4pPr>
            <a:lvl5pPr marL="4135465" indent="0" algn="ctr">
              <a:buNone/>
              <a:defRPr sz="3618"/>
            </a:lvl5pPr>
            <a:lvl6pPr marL="5169332" indent="0" algn="ctr">
              <a:buNone/>
              <a:defRPr sz="3618"/>
            </a:lvl6pPr>
            <a:lvl7pPr marL="6203198" indent="0" algn="ctr">
              <a:buNone/>
              <a:defRPr sz="3618"/>
            </a:lvl7pPr>
            <a:lvl8pPr marL="7237065" indent="0" algn="ctr">
              <a:buNone/>
              <a:defRPr sz="3618"/>
            </a:lvl8pPr>
            <a:lvl9pPr marL="8270931" indent="0" algn="ctr">
              <a:buNone/>
              <a:defRPr sz="3618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54615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CA46303-01A7-407E-9A89-656A2E085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2352" y="659607"/>
            <a:ext cx="12847777" cy="144744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000" baseline="0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C8B82C0-A8EF-460F-87DA-65EABB84867A}"/>
              </a:ext>
            </a:extLst>
          </p:cNvPr>
          <p:cNvSpPr txBox="1">
            <a:spLocks/>
          </p:cNvSpPr>
          <p:nvPr userDrawn="1"/>
        </p:nvSpPr>
        <p:spPr>
          <a:xfrm>
            <a:off x="1414304" y="14060846"/>
            <a:ext cx="12847777" cy="14474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20677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 baseline="0">
                <a:solidFill>
                  <a:srgbClr val="022DB7"/>
                </a:solidFill>
                <a:latin typeface="GT America Extended Black"/>
                <a:ea typeface="+mj-ea"/>
                <a:cs typeface="GT America Extended Black"/>
              </a:defRPr>
            </a:lvl1pPr>
          </a:lstStyle>
          <a:p>
            <a:r>
              <a:rPr lang="en-US" sz="3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ineering Digital Transformation Program: 2022 in Review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81CD751-B101-40A0-373E-D0D0E64B7644}"/>
              </a:ext>
            </a:extLst>
          </p:cNvPr>
          <p:cNvGrpSpPr/>
          <p:nvPr userDrawn="1"/>
        </p:nvGrpSpPr>
        <p:grpSpPr>
          <a:xfrm>
            <a:off x="28397017" y="157194"/>
            <a:ext cx="2110753" cy="2311685"/>
            <a:chOff x="12210519" y="3928289"/>
            <a:chExt cx="6228545" cy="6821468"/>
          </a:xfrm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72BD9783-6BB1-3503-C179-FC9634D0D9E4}"/>
                </a:ext>
              </a:extLst>
            </p:cNvPr>
            <p:cNvSpPr/>
            <p:nvPr/>
          </p:nvSpPr>
          <p:spPr>
            <a:xfrm>
              <a:off x="13466986" y="6604992"/>
              <a:ext cx="3065549" cy="245686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EB30C628-E6E0-FA21-1690-3922D5DDDF2D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E4610F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28BA6351-AE8B-20CB-9848-9F6C19553F87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00A9E4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A4AC9EE5-C1BE-4CB0-35E3-BDB9CB6B0546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chemeClr val="accent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34" name="Graphic 33" descr="Users">
              <a:extLst>
                <a:ext uri="{FF2B5EF4-FFF2-40B4-BE49-F238E27FC236}">
                  <a16:creationId xmlns:a16="http://schemas.microsoft.com/office/drawing/2014/main" id="{11E7748B-AE1F-A557-548F-C2F37363D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35" name="Graphic 34" descr="Circles with arrows with solid fill">
              <a:extLst>
                <a:ext uri="{FF2B5EF4-FFF2-40B4-BE49-F238E27FC236}">
                  <a16:creationId xmlns:a16="http://schemas.microsoft.com/office/drawing/2014/main" id="{EF218761-075E-BD99-049E-97993FD4A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36" name="Graphic 35" descr="Bar chart with solid fill">
              <a:extLst>
                <a:ext uri="{FF2B5EF4-FFF2-40B4-BE49-F238E27FC236}">
                  <a16:creationId xmlns:a16="http://schemas.microsoft.com/office/drawing/2014/main" id="{FE29E23A-49F4-34AE-28AA-440E95AAE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80184AB-903D-0AA7-C523-B372D05B24E7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38" name="Graphic 37" descr="Connections with solid fill">
                <a:extLst>
                  <a:ext uri="{FF2B5EF4-FFF2-40B4-BE49-F238E27FC236}">
                    <a16:creationId xmlns:a16="http://schemas.microsoft.com/office/drawing/2014/main" id="{9B3A0C0D-3727-1A29-9B8C-CB2DDB9807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F3B69699-B55A-6669-54B2-5D0F1668C711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23EBE6E-4D4B-D514-EFBE-1FE525E9115B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995818DD-1CB6-8CE5-E8DA-FDC00542F049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67D7AB1-0CFF-9116-D5F5-355022597177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D2A5ED1-AD44-0532-AF90-8973673C77BA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D6F6D82-8B34-4E9E-CD08-BE9FC251FE06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5" name="Graphic 44" descr="Ui Ux with solid fill">
                <a:extLst>
                  <a:ext uri="{FF2B5EF4-FFF2-40B4-BE49-F238E27FC236}">
                    <a16:creationId xmlns:a16="http://schemas.microsoft.com/office/drawing/2014/main" id="{20BF4624-3D98-5C4B-8C97-1C3443F6DA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46" name="Graphic 45" descr="User with solid fill">
                <a:extLst>
                  <a:ext uri="{FF2B5EF4-FFF2-40B4-BE49-F238E27FC236}">
                    <a16:creationId xmlns:a16="http://schemas.microsoft.com/office/drawing/2014/main" id="{3E940D5F-A137-AA96-0ADD-13B44FF638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7" name="Graphic 46" descr="Wi-Fi with solid fill">
                <a:extLst>
                  <a:ext uri="{FF2B5EF4-FFF2-40B4-BE49-F238E27FC236}">
                    <a16:creationId xmlns:a16="http://schemas.microsoft.com/office/drawing/2014/main" id="{FB116478-BBB6-969E-DE19-CD2B080BBA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48" name="Graphic 47" descr="User with solid fill">
                <a:extLst>
                  <a:ext uri="{FF2B5EF4-FFF2-40B4-BE49-F238E27FC236}">
                    <a16:creationId xmlns:a16="http://schemas.microsoft.com/office/drawing/2014/main" id="{BEDEAA59-8831-BD66-BA70-A89CC856D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9" name="Graphic 48" descr="User with solid fill">
                <a:extLst>
                  <a:ext uri="{FF2B5EF4-FFF2-40B4-BE49-F238E27FC236}">
                    <a16:creationId xmlns:a16="http://schemas.microsoft.com/office/drawing/2014/main" id="{C9C28650-537D-FE6C-9155-C265502A47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50" name="Graphic 49" descr="User with solid fill">
                <a:extLst>
                  <a:ext uri="{FF2B5EF4-FFF2-40B4-BE49-F238E27FC236}">
                    <a16:creationId xmlns:a16="http://schemas.microsoft.com/office/drawing/2014/main" id="{0A44363C-F633-8852-FAE7-A42B6F3AA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9165946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1461" y="1033886"/>
            <a:ext cx="10027204" cy="3618601"/>
          </a:xfrm>
        </p:spPr>
        <p:txBody>
          <a:bodyPr anchor="b"/>
          <a:lstStyle>
            <a:lvl1pPr>
              <a:defRPr sz="723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217129" y="2232907"/>
            <a:ext cx="15739110" cy="11020936"/>
          </a:xfrm>
        </p:spPr>
        <p:txBody>
          <a:bodyPr/>
          <a:lstStyle>
            <a:lvl1pPr>
              <a:defRPr sz="7236"/>
            </a:lvl1pPr>
            <a:lvl2pPr>
              <a:defRPr sz="6332"/>
            </a:lvl2pPr>
            <a:lvl3pPr>
              <a:defRPr sz="5427"/>
            </a:lvl3pPr>
            <a:lvl4pPr>
              <a:defRPr sz="4523"/>
            </a:lvl4pPr>
            <a:lvl5pPr>
              <a:defRPr sz="4523"/>
            </a:lvl5pPr>
            <a:lvl6pPr>
              <a:defRPr sz="4523"/>
            </a:lvl6pPr>
            <a:lvl7pPr>
              <a:defRPr sz="4523"/>
            </a:lvl7pPr>
            <a:lvl8pPr>
              <a:defRPr sz="4523"/>
            </a:lvl8pPr>
            <a:lvl9pPr>
              <a:defRPr sz="452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41461" y="4652486"/>
            <a:ext cx="10027204" cy="8619307"/>
          </a:xfrm>
        </p:spPr>
        <p:txBody>
          <a:bodyPr/>
          <a:lstStyle>
            <a:lvl1pPr marL="0" indent="0">
              <a:buNone/>
              <a:defRPr sz="3618"/>
            </a:lvl1pPr>
            <a:lvl2pPr marL="1033866" indent="0">
              <a:buNone/>
              <a:defRPr sz="3166"/>
            </a:lvl2pPr>
            <a:lvl3pPr marL="2067733" indent="0">
              <a:buNone/>
              <a:defRPr sz="2714"/>
            </a:lvl3pPr>
            <a:lvl4pPr marL="3101599" indent="0">
              <a:buNone/>
              <a:defRPr sz="2261"/>
            </a:lvl4pPr>
            <a:lvl5pPr marL="4135465" indent="0">
              <a:buNone/>
              <a:defRPr sz="2261"/>
            </a:lvl5pPr>
            <a:lvl6pPr marL="5169332" indent="0">
              <a:buNone/>
              <a:defRPr sz="2261"/>
            </a:lvl6pPr>
            <a:lvl7pPr marL="6203198" indent="0">
              <a:buNone/>
              <a:defRPr sz="2261"/>
            </a:lvl7pPr>
            <a:lvl8pPr marL="7237065" indent="0">
              <a:buNone/>
              <a:defRPr sz="2261"/>
            </a:lvl8pPr>
            <a:lvl9pPr marL="8270931" indent="0">
              <a:buNone/>
              <a:defRPr sz="226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91148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1461" y="1033886"/>
            <a:ext cx="10027204" cy="3618601"/>
          </a:xfrm>
        </p:spPr>
        <p:txBody>
          <a:bodyPr anchor="b"/>
          <a:lstStyle>
            <a:lvl1pPr>
              <a:defRPr sz="723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217129" y="2232907"/>
            <a:ext cx="15739110" cy="11020936"/>
          </a:xfrm>
        </p:spPr>
        <p:txBody>
          <a:bodyPr anchor="t"/>
          <a:lstStyle>
            <a:lvl1pPr marL="0" indent="0">
              <a:buNone/>
              <a:defRPr sz="7236"/>
            </a:lvl1pPr>
            <a:lvl2pPr marL="1033866" indent="0">
              <a:buNone/>
              <a:defRPr sz="6332"/>
            </a:lvl2pPr>
            <a:lvl3pPr marL="2067733" indent="0">
              <a:buNone/>
              <a:defRPr sz="5427"/>
            </a:lvl3pPr>
            <a:lvl4pPr marL="3101599" indent="0">
              <a:buNone/>
              <a:defRPr sz="4523"/>
            </a:lvl4pPr>
            <a:lvl5pPr marL="4135465" indent="0">
              <a:buNone/>
              <a:defRPr sz="4523"/>
            </a:lvl5pPr>
            <a:lvl6pPr marL="5169332" indent="0">
              <a:buNone/>
              <a:defRPr sz="4523"/>
            </a:lvl6pPr>
            <a:lvl7pPr marL="6203198" indent="0">
              <a:buNone/>
              <a:defRPr sz="4523"/>
            </a:lvl7pPr>
            <a:lvl8pPr marL="7237065" indent="0">
              <a:buNone/>
              <a:defRPr sz="4523"/>
            </a:lvl8pPr>
            <a:lvl9pPr marL="8270931" indent="0">
              <a:buNone/>
              <a:defRPr sz="452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41461" y="4652486"/>
            <a:ext cx="10027204" cy="8619307"/>
          </a:xfrm>
        </p:spPr>
        <p:txBody>
          <a:bodyPr/>
          <a:lstStyle>
            <a:lvl1pPr marL="0" indent="0">
              <a:buNone/>
              <a:defRPr sz="3618"/>
            </a:lvl1pPr>
            <a:lvl2pPr marL="1033866" indent="0">
              <a:buNone/>
              <a:defRPr sz="3166"/>
            </a:lvl2pPr>
            <a:lvl3pPr marL="2067733" indent="0">
              <a:buNone/>
              <a:defRPr sz="2714"/>
            </a:lvl3pPr>
            <a:lvl4pPr marL="3101599" indent="0">
              <a:buNone/>
              <a:defRPr sz="2261"/>
            </a:lvl4pPr>
            <a:lvl5pPr marL="4135465" indent="0">
              <a:buNone/>
              <a:defRPr sz="2261"/>
            </a:lvl5pPr>
            <a:lvl6pPr marL="5169332" indent="0">
              <a:buNone/>
              <a:defRPr sz="2261"/>
            </a:lvl6pPr>
            <a:lvl7pPr marL="6203198" indent="0">
              <a:buNone/>
              <a:defRPr sz="2261"/>
            </a:lvl7pPr>
            <a:lvl8pPr marL="7237065" indent="0">
              <a:buNone/>
              <a:defRPr sz="2261"/>
            </a:lvl8pPr>
            <a:lvl9pPr marL="8270931" indent="0">
              <a:buNone/>
              <a:defRPr sz="226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38916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22342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2248495" y="825673"/>
            <a:ext cx="6703695" cy="131425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37410" y="825673"/>
            <a:ext cx="19722465" cy="131425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53611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7D3EB4-5148-014E-81EC-F0C11A61CB8A}"/>
              </a:ext>
            </a:extLst>
          </p:cNvPr>
          <p:cNvSpPr/>
          <p:nvPr userDrawn="1"/>
        </p:nvSpPr>
        <p:spPr>
          <a:xfrm>
            <a:off x="2" y="2"/>
            <a:ext cx="31101175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87BE6B-2BE3-E149-B4BB-2238AD72F1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058626" y="11645518"/>
            <a:ext cx="5120157" cy="2168246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39AA93-D6C6-4753-9031-1284283520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0" y="6927036"/>
            <a:ext cx="2676814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0FE7DFA-264D-4F42-A311-ACFE33638C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01677" y="4879941"/>
            <a:ext cx="26774301" cy="19850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053C809-1859-46AD-B913-49BA7DFBD2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1676" y="8581255"/>
            <a:ext cx="452353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F7744E2-8F20-5F4D-8A05-5FBF17B11860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5230" y="8294420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6931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46053E-C818-594B-81A8-8137F227FD21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5F54B9-35F5-2948-9806-C369FEF50D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984724" y="11645519"/>
            <a:ext cx="5120157" cy="2168246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08723C-B36D-4197-AA7A-2CA11BD69D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68500" y="7443979"/>
            <a:ext cx="2676814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816BCF6-3ADC-4A6E-9978-ABCC5CE85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7652" y="5417565"/>
            <a:ext cx="26774301" cy="1978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CAF5F3AD-95DE-4127-9BA6-87F0BAF87D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90808" y="9118875"/>
            <a:ext cx="452353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DA88687-1DA3-464B-8D76-B2E7FBDDF5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4883094" y="8852068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7925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F66B71-A19D-094D-8963-B0AE16E9D547}"/>
              </a:ext>
            </a:extLst>
          </p:cNvPr>
          <p:cNvSpPr/>
          <p:nvPr userDrawn="1"/>
        </p:nvSpPr>
        <p:spPr>
          <a:xfrm>
            <a:off x="0" y="6"/>
            <a:ext cx="31089600" cy="1550828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E5FC27-C30C-EF4F-8946-7FFF023C0C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8E47675-277C-4965-9812-A58DE663AE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7732" y="7816180"/>
            <a:ext cx="24646279" cy="10003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62008852-56C5-4952-8502-C3F4EF9758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7732" y="5769085"/>
            <a:ext cx="24646279" cy="20007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42E42C41-526C-4339-8403-B8597220FA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7727" y="9470396"/>
            <a:ext cx="4815017" cy="83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9641940-BD8D-3549-9ADA-59C8E259FB40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9779" y="9215088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5957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F66B71-A19D-094D-8963-B0AE16E9D547}"/>
              </a:ext>
            </a:extLst>
          </p:cNvPr>
          <p:cNvSpPr/>
          <p:nvPr userDrawn="1"/>
        </p:nvSpPr>
        <p:spPr>
          <a:xfrm>
            <a:off x="0" y="6"/>
            <a:ext cx="31089600" cy="1550828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E5FC27-C30C-EF4F-8946-7FFF023C0C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8E47675-277C-4965-9812-A58DE663AE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7732" y="7816180"/>
            <a:ext cx="24646279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62008852-56C5-4952-8502-C3F4EF9758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7727" y="5769084"/>
            <a:ext cx="24646279" cy="17826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42E42C41-526C-4339-8403-B8597220FA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7727" y="9470401"/>
            <a:ext cx="24646279" cy="7130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FEB1587-9757-904C-9B4E-714ADE3486DE}"/>
              </a:ext>
            </a:extLst>
          </p:cNvPr>
          <p:cNvCxnSpPr>
            <a:cxnSpLocks/>
          </p:cNvCxnSpPr>
          <p:nvPr userDrawn="1"/>
        </p:nvCxnSpPr>
        <p:spPr>
          <a:xfrm flipV="1">
            <a:off x="14883092" y="9215088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3166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ound, outdoor&#10;&#10;Description automatically generated">
            <a:extLst>
              <a:ext uri="{FF2B5EF4-FFF2-40B4-BE49-F238E27FC236}">
                <a16:creationId xmlns:a16="http://schemas.microsoft.com/office/drawing/2014/main" id="{AB6811A3-4D7E-491A-BA11-4D39195400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00"/>
          <a:stretch/>
        </p:blipFill>
        <p:spPr>
          <a:xfrm>
            <a:off x="15544803" y="1"/>
            <a:ext cx="15544795" cy="1550828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4417076-561C-834C-A8DA-A7589BAC2701}"/>
              </a:ext>
            </a:extLst>
          </p:cNvPr>
          <p:cNvSpPr/>
          <p:nvPr userDrawn="1"/>
        </p:nvSpPr>
        <p:spPr>
          <a:xfrm>
            <a:off x="2" y="2"/>
            <a:ext cx="155448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C5B2994-66DD-9044-A133-39A4D8510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83584" y="646180"/>
            <a:ext cx="15577185" cy="1421593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18F2A3D-4467-7746-AFB6-87EE3B60ED1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775854" y="11735422"/>
            <a:ext cx="5120157" cy="2168246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FE133DBE-DCB5-4C79-BC16-294667C0C0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2112" y="6575519"/>
            <a:ext cx="12054991" cy="7521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49A16431-16B8-481F-B09A-2FA78F951E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2111" y="8250417"/>
            <a:ext cx="4523537" cy="7521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Thin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5DCE6887-F3C7-4EFE-AAB8-8885E05D43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2112" y="2832852"/>
            <a:ext cx="12054991" cy="368063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</a:t>
            </a:r>
            <a:br>
              <a:rPr lang="en-US"/>
            </a:br>
            <a:r>
              <a:rPr lang="en-US"/>
              <a:t>Page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1BBD5A8-2C1B-5742-9AB0-C0BE185C9A7B}"/>
              </a:ext>
            </a:extLst>
          </p:cNvPr>
          <p:cNvCxnSpPr>
            <a:cxnSpLocks/>
          </p:cNvCxnSpPr>
          <p:nvPr userDrawn="1"/>
        </p:nvCxnSpPr>
        <p:spPr>
          <a:xfrm flipV="1">
            <a:off x="1772109" y="7950591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7452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36890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B8313DC2-7AF1-48A8-A626-10EC45BD11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317" r="23683"/>
          <a:stretch/>
        </p:blipFill>
        <p:spPr>
          <a:xfrm>
            <a:off x="15544802" y="2"/>
            <a:ext cx="15544800" cy="155082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411E76-DBA7-1143-B90C-963B8D4C29D5}"/>
              </a:ext>
            </a:extLst>
          </p:cNvPr>
          <p:cNvSpPr/>
          <p:nvPr userDrawn="1"/>
        </p:nvSpPr>
        <p:spPr>
          <a:xfrm>
            <a:off x="2" y="2"/>
            <a:ext cx="155448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520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701867-FAD1-044B-83B0-792423C98C7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93648" y="646180"/>
            <a:ext cx="15577185" cy="142159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D52C41-F718-7C40-9B71-8D179C8BEC8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775854" y="11735422"/>
            <a:ext cx="5120157" cy="2168246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F88A691-C720-4547-871D-CE028B4CF1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2112" y="6575519"/>
            <a:ext cx="12054991" cy="75215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4AFB2CCB-A8EA-9740-92F8-E38F11CC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2111" y="8250417"/>
            <a:ext cx="4523537" cy="75215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Thin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9D588A43-BE80-EC4E-8A0F-1062BB1DC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2112" y="2832852"/>
            <a:ext cx="12054991" cy="3680632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49F19C-3829-0D41-92EE-D10BC4C1F6C2}"/>
              </a:ext>
            </a:extLst>
          </p:cNvPr>
          <p:cNvSpPr txBox="1"/>
          <p:nvPr userDrawn="1"/>
        </p:nvSpPr>
        <p:spPr>
          <a:xfrm>
            <a:off x="3076908" y="-1151128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endParaRPr lang="en-US" sz="5781">
              <a:solidFill>
                <a:schemeClr val="bg1"/>
              </a:solidFill>
              <a:latin typeface="GT America Light" pitchFamily="2" charset="77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AD2AA4-DE87-2140-8680-84A72E248B5F}"/>
              </a:ext>
            </a:extLst>
          </p:cNvPr>
          <p:cNvCxnSpPr>
            <a:cxnSpLocks/>
          </p:cNvCxnSpPr>
          <p:nvPr userDrawn="1"/>
        </p:nvCxnSpPr>
        <p:spPr>
          <a:xfrm flipV="1">
            <a:off x="1775854" y="7954051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7080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ADC4FC-6C13-B949-9A17-DBA682F0C5C0}"/>
              </a:ext>
            </a:extLst>
          </p:cNvPr>
          <p:cNvSpPr/>
          <p:nvPr userDrawn="1"/>
        </p:nvSpPr>
        <p:spPr>
          <a:xfrm>
            <a:off x="0" y="10840970"/>
            <a:ext cx="31089600" cy="336372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5A5AA1-AB61-3540-887D-259397CE4C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058626" y="11438708"/>
            <a:ext cx="5120157" cy="2168246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81B288B-3E48-404E-9CA8-4AF7F4C064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0" y="5748411"/>
            <a:ext cx="26768147" cy="10008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7226" b="0" i="0">
                <a:solidFill>
                  <a:srgbClr val="022DB7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35ED71FF-32B8-4BF2-B1D8-C09DBD98A2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01675" y="3721997"/>
            <a:ext cx="26777992" cy="1978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5897" b="0">
                <a:solidFill>
                  <a:srgbClr val="022DB7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25060256-98CF-49FF-9888-87ACA54178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1676" y="7423302"/>
            <a:ext cx="4523537" cy="7444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buNone/>
              <a:defRPr sz="5781" b="0" i="0">
                <a:solidFill>
                  <a:srgbClr val="022DB7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281AF3-5B57-114B-80D2-E9A20F670FFD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5230" y="7166383"/>
            <a:ext cx="1323416" cy="2"/>
          </a:xfrm>
          <a:prstGeom prst="line">
            <a:avLst/>
          </a:prstGeom>
          <a:ln w="19050">
            <a:solidFill>
              <a:srgbClr val="012D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1866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DE519A-366D-B94B-B7C2-35C4D2D17F14}"/>
              </a:ext>
            </a:extLst>
          </p:cNvPr>
          <p:cNvSpPr/>
          <p:nvPr userDrawn="1"/>
        </p:nvSpPr>
        <p:spPr>
          <a:xfrm>
            <a:off x="0" y="10840970"/>
            <a:ext cx="31089600" cy="336372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0A3ED8-A40D-8F4C-B8F2-B7E8123E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984724" y="11438708"/>
            <a:ext cx="5120157" cy="2168246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143DDCEA-2359-464D-9AF8-B1DE45950E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68500" y="6844324"/>
            <a:ext cx="2676814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7226" b="0" i="0">
                <a:solidFill>
                  <a:srgbClr val="022DB7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625CE3A-2DBD-4B66-B485-11971A50B1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447" y="4797233"/>
            <a:ext cx="26774301" cy="1978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5897" b="1">
                <a:solidFill>
                  <a:srgbClr val="022DB7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51396E59-5D8E-4A6C-93E2-9BD7AEE3FC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326261" y="8498545"/>
            <a:ext cx="4437078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5781" b="0" i="0">
                <a:solidFill>
                  <a:srgbClr val="022DB7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05B429-7988-C84A-9B21-AEF8FF36702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883092" y="8245221"/>
            <a:ext cx="1323416" cy="2"/>
          </a:xfrm>
          <a:prstGeom prst="line">
            <a:avLst/>
          </a:prstGeom>
          <a:ln w="19050">
            <a:solidFill>
              <a:srgbClr val="012D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2640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ound, outdoor&#10;&#10;Description automatically generated">
            <a:extLst>
              <a:ext uri="{FF2B5EF4-FFF2-40B4-BE49-F238E27FC236}">
                <a16:creationId xmlns:a16="http://schemas.microsoft.com/office/drawing/2014/main" id="{E5B6028A-E6AA-49A7-94FD-729179F225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" y="1"/>
            <a:ext cx="31089598" cy="15508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DF05D06-980D-5C47-B67D-C5104A5AFAA2}"/>
              </a:ext>
            </a:extLst>
          </p:cNvPr>
          <p:cNvSpPr/>
          <p:nvPr userDrawn="1"/>
        </p:nvSpPr>
        <p:spPr>
          <a:xfrm>
            <a:off x="8" y="1767125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72B30F-A828-5045-9EE3-036298753A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573687" y="2623217"/>
            <a:ext cx="5120157" cy="2168246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7DD83-0DDB-4C52-954E-B5C65692E1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2111" y="2336583"/>
            <a:ext cx="21871535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Cover Page 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773080" y="4300974"/>
            <a:ext cx="21871535" cy="9405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 – 00.00.0000</a:t>
            </a:r>
          </a:p>
        </p:txBody>
      </p:sp>
    </p:spTree>
    <p:extLst>
      <p:ext uri="{BB962C8B-B14F-4D97-AF65-F5344CB8AC3E}">
        <p14:creationId xmlns:p14="http://schemas.microsoft.com/office/powerpoint/2010/main" val="4050667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295D8844-170C-451F-8AE5-D3049621BA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31089600" cy="155082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1A0EA25-C52D-4843-A6FC-F2022DAA0DA8}"/>
              </a:ext>
            </a:extLst>
          </p:cNvPr>
          <p:cNvSpPr/>
          <p:nvPr userDrawn="1"/>
        </p:nvSpPr>
        <p:spPr>
          <a:xfrm>
            <a:off x="8" y="1767125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798E57-DF5B-9D43-BF17-D7DA30E64B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573687" y="2623217"/>
            <a:ext cx="5120157" cy="2168246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288673C-1295-4C25-8B48-4D77C994C0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2111" y="2336583"/>
            <a:ext cx="21871535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Cover Page 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773081" y="4300970"/>
            <a:ext cx="21872020" cy="91542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 – 00.00.0000</a:t>
            </a:r>
          </a:p>
        </p:txBody>
      </p:sp>
    </p:spTree>
    <p:extLst>
      <p:ext uri="{BB962C8B-B14F-4D97-AF65-F5344CB8AC3E}">
        <p14:creationId xmlns:p14="http://schemas.microsoft.com/office/powerpoint/2010/main" val="8093427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ground, outdoor&#10;&#10;Description automatically generated">
            <a:extLst>
              <a:ext uri="{FF2B5EF4-FFF2-40B4-BE49-F238E27FC236}">
                <a16:creationId xmlns:a16="http://schemas.microsoft.com/office/drawing/2014/main" id="{88C5E163-ECDF-4F2A-B2DA-FED8C6E921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585" y="-1788"/>
            <a:ext cx="31089600" cy="155082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D4A673F-019A-BB4A-8E2E-C7E6D42298E8}"/>
              </a:ext>
            </a:extLst>
          </p:cNvPr>
          <p:cNvSpPr/>
          <p:nvPr userDrawn="1"/>
        </p:nvSpPr>
        <p:spPr>
          <a:xfrm>
            <a:off x="8" y="2"/>
            <a:ext cx="31089598" cy="15508288"/>
          </a:xfrm>
          <a:prstGeom prst="rect">
            <a:avLst/>
          </a:prstGeom>
          <a:solidFill>
            <a:srgbClr val="012DB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E34485-7054-2549-9B3F-75E89E487A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058626" y="11645519"/>
            <a:ext cx="5120157" cy="2168246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F0FE8E8E-2624-4863-A73C-AAB28C765E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0" y="6927036"/>
            <a:ext cx="2676814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F8B4207-9B67-4F3E-B12B-9453E09D75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01677" y="4879944"/>
            <a:ext cx="26774301" cy="1978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EE4D35A4-9753-4EEF-A878-CBC934243D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1676" y="8581255"/>
            <a:ext cx="452353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6A6E704-F80C-B041-94E0-446E0C4E1724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5230" y="8294420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722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AF437FA6-B576-4FAC-88D5-68984ABE6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" y="1"/>
            <a:ext cx="31089598" cy="15508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8118A69-6964-C34B-95E8-7DBFF6E68E06}"/>
              </a:ext>
            </a:extLst>
          </p:cNvPr>
          <p:cNvSpPr/>
          <p:nvPr userDrawn="1"/>
        </p:nvSpPr>
        <p:spPr>
          <a:xfrm>
            <a:off x="8" y="6"/>
            <a:ext cx="31089598" cy="15508286"/>
          </a:xfrm>
          <a:prstGeom prst="rect">
            <a:avLst/>
          </a:prstGeom>
          <a:solidFill>
            <a:srgbClr val="012DB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B61CDD-AA0E-3645-AF40-E982325970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058626" y="11645519"/>
            <a:ext cx="5120157" cy="2168246"/>
          </a:xfrm>
          <a:prstGeom prst="rect">
            <a:avLst/>
          </a:prstGeom>
        </p:spPr>
      </p:pic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8CB3292-B988-4F59-B9A4-4A44BB4569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0" y="6927036"/>
            <a:ext cx="2676814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CEF2B6-04FD-468A-A22D-16DD08D2A7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01670" y="4879944"/>
            <a:ext cx="26768147" cy="1978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8CF1AA65-528F-44DA-81CA-72840E11FB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1676" y="8581255"/>
            <a:ext cx="452353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5406FC6-D059-5B4D-A5E0-92506D9BC8D0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5230" y="8294420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9962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AF437FA6-B576-4FAC-88D5-68984ABE6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" y="1"/>
            <a:ext cx="31089598" cy="15508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8118A69-6964-C34B-95E8-7DBFF6E68E06}"/>
              </a:ext>
            </a:extLst>
          </p:cNvPr>
          <p:cNvSpPr/>
          <p:nvPr userDrawn="1"/>
        </p:nvSpPr>
        <p:spPr>
          <a:xfrm>
            <a:off x="8" y="6"/>
            <a:ext cx="31089598" cy="15508286"/>
          </a:xfrm>
          <a:prstGeom prst="rect">
            <a:avLst/>
          </a:prstGeom>
          <a:solidFill>
            <a:srgbClr val="012DB8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4168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6D3CA6-1961-9540-BD57-2DE8596D7A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31089600" cy="1550828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9E59580-A883-C54D-9770-CF700F3C19AA}"/>
              </a:ext>
            </a:extLst>
          </p:cNvPr>
          <p:cNvSpPr/>
          <p:nvPr userDrawn="1"/>
        </p:nvSpPr>
        <p:spPr>
          <a:xfrm>
            <a:off x="8" y="2"/>
            <a:ext cx="31089598" cy="15508288"/>
          </a:xfrm>
          <a:prstGeom prst="rect">
            <a:avLst/>
          </a:prstGeom>
          <a:solidFill>
            <a:srgbClr val="012DB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57F894-04E2-F94B-8DD0-106FA12158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0437488-9CCF-4803-ABAB-51B5857581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7729" y="9470400"/>
            <a:ext cx="4523537" cy="7521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41176-8150-4ABC-87B5-9D0FA64BD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7727" y="7816180"/>
            <a:ext cx="24646279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09BDF712-25C8-4278-BCBC-5384CE9108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87727" y="5769087"/>
            <a:ext cx="24646279" cy="1978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C73D0F-5260-9B4D-90BE-4FD9452B5CFB}"/>
              </a:ext>
            </a:extLst>
          </p:cNvPr>
          <p:cNvCxnSpPr>
            <a:cxnSpLocks/>
          </p:cNvCxnSpPr>
          <p:nvPr userDrawn="1"/>
        </p:nvCxnSpPr>
        <p:spPr>
          <a:xfrm flipV="1">
            <a:off x="3289779" y="9215088"/>
            <a:ext cx="1323416" cy="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71081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D2FBC7FE-A084-4DC1-AC94-EAAF8FD8C5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" y="1"/>
            <a:ext cx="31089598" cy="15508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6E384FD-7850-5843-83AB-72B7E399E7CF}"/>
              </a:ext>
            </a:extLst>
          </p:cNvPr>
          <p:cNvSpPr/>
          <p:nvPr userDrawn="1"/>
        </p:nvSpPr>
        <p:spPr>
          <a:xfrm>
            <a:off x="8" y="9"/>
            <a:ext cx="31089598" cy="15508286"/>
          </a:xfrm>
          <a:prstGeom prst="rect">
            <a:avLst/>
          </a:prstGeom>
          <a:solidFill>
            <a:srgbClr val="012DB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3569CA15-4686-46A4-959B-FD72BD9782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87727" y="7816180"/>
            <a:ext cx="24646279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226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B9B0939A-4222-4573-B12A-6B4D0DD51A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7725" y="5769083"/>
            <a:ext cx="24786185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Cover Page Title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58F690AA-8AC4-4833-BDF9-5A26A6060C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7729" y="9470396"/>
            <a:ext cx="4523537" cy="744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5781" b="0" i="0">
                <a:solidFill>
                  <a:schemeClr val="bg1"/>
                </a:solidFill>
                <a:latin typeface="GT America Light" pitchFamily="2" charset="77"/>
              </a:defRPr>
            </a:lvl1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0E5FB7-0E91-E94E-39CD-5802079909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057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1218" y="3866305"/>
            <a:ext cx="26814780" cy="6451016"/>
          </a:xfrm>
        </p:spPr>
        <p:txBody>
          <a:bodyPr anchor="b"/>
          <a:lstStyle>
            <a:lvl1pPr>
              <a:defRPr sz="1356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21218" y="10378350"/>
            <a:ext cx="26814780" cy="3392437"/>
          </a:xfrm>
        </p:spPr>
        <p:txBody>
          <a:bodyPr/>
          <a:lstStyle>
            <a:lvl1pPr marL="0" indent="0">
              <a:buNone/>
              <a:defRPr sz="5427">
                <a:solidFill>
                  <a:schemeClr val="tx1">
                    <a:tint val="75000"/>
                  </a:schemeClr>
                </a:solidFill>
              </a:defRPr>
            </a:lvl1pPr>
            <a:lvl2pPr marL="1033866" indent="0">
              <a:buNone/>
              <a:defRPr sz="4523">
                <a:solidFill>
                  <a:schemeClr val="tx1">
                    <a:tint val="75000"/>
                  </a:schemeClr>
                </a:solidFill>
              </a:defRPr>
            </a:lvl2pPr>
            <a:lvl3pPr marL="2067733" indent="0">
              <a:buNone/>
              <a:defRPr sz="4070">
                <a:solidFill>
                  <a:schemeClr val="tx1">
                    <a:tint val="75000"/>
                  </a:schemeClr>
                </a:solidFill>
              </a:defRPr>
            </a:lvl3pPr>
            <a:lvl4pPr marL="3101599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4pPr>
            <a:lvl5pPr marL="4135465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5pPr>
            <a:lvl6pPr marL="5169332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6pPr>
            <a:lvl7pPr marL="6203198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7pPr>
            <a:lvl8pPr marL="7237065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8pPr>
            <a:lvl9pPr marL="8270931" indent="0">
              <a:buNone/>
              <a:defRPr sz="361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841632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6C759E6-0302-1D47-ACA8-622011ED233D}"/>
              </a:ext>
            </a:extLst>
          </p:cNvPr>
          <p:cNvSpPr/>
          <p:nvPr userDrawn="1"/>
        </p:nvSpPr>
        <p:spPr>
          <a:xfrm>
            <a:off x="0" y="2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EC8710-F2C9-B94C-A2E9-C6CA509651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7787" y="1191840"/>
            <a:ext cx="28434030" cy="13124608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42C2E93-1FF8-48E2-8C75-CB3A059D08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6327381"/>
            <a:ext cx="25065990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401675" y="8312447"/>
            <a:ext cx="25065990" cy="12061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7226">
                <a:solidFill>
                  <a:schemeClr val="bg1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9834488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3362B6-31F5-B846-8846-BAB8F76933DD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F6119C-76C2-3040-90C7-9D3C181149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1260" y="1191843"/>
            <a:ext cx="28434030" cy="13124608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4CE639BE-38DF-4C47-B164-B7523D01F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7919" y="6212505"/>
            <a:ext cx="25065990" cy="19850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07759" y="8333124"/>
            <a:ext cx="25065990" cy="7444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1013917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DEA2018-E0A8-3243-91B1-B043B8B69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" y="2"/>
            <a:ext cx="31089598" cy="155055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5C210BF-EA37-5F47-BB0F-EFFF68382C6A}"/>
              </a:ext>
            </a:extLst>
          </p:cNvPr>
          <p:cNvSpPr/>
          <p:nvPr userDrawn="1"/>
        </p:nvSpPr>
        <p:spPr>
          <a:xfrm>
            <a:off x="8" y="9856602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23A9BD8-0817-224A-9E67-E3B25FCF8B99}"/>
              </a:ext>
            </a:extLst>
          </p:cNvPr>
          <p:cNvCxnSpPr>
            <a:cxnSpLocks/>
          </p:cNvCxnSpPr>
          <p:nvPr userDrawn="1"/>
        </p:nvCxnSpPr>
        <p:spPr>
          <a:xfrm>
            <a:off x="0" y="13279690"/>
            <a:ext cx="310896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0EA90D4-05B8-4A28-AA5B-0638E5B8D5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10359542"/>
            <a:ext cx="26278483" cy="1979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400541" y="12179180"/>
            <a:ext cx="26280426" cy="78575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789731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864DA01-6250-D948-B984-C8168F53AF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" y="2762"/>
            <a:ext cx="31089598" cy="155055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C117CE6-BF2B-0844-855D-79B2D349FD02}"/>
              </a:ext>
            </a:extLst>
          </p:cNvPr>
          <p:cNvSpPr/>
          <p:nvPr userDrawn="1"/>
        </p:nvSpPr>
        <p:spPr>
          <a:xfrm>
            <a:off x="8" y="9856602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E725BFB-69DD-7F42-BCA9-A8132BD972B0}"/>
              </a:ext>
            </a:extLst>
          </p:cNvPr>
          <p:cNvCxnSpPr>
            <a:cxnSpLocks/>
          </p:cNvCxnSpPr>
          <p:nvPr userDrawn="1"/>
        </p:nvCxnSpPr>
        <p:spPr>
          <a:xfrm>
            <a:off x="0" y="13279690"/>
            <a:ext cx="310896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B93639E-43F7-4AD5-8E25-EE4C368A6F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10359542"/>
            <a:ext cx="26278483" cy="19793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400545" y="12179180"/>
            <a:ext cx="25794651" cy="140005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2832760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3D6CA34-5CF9-4AC2-9055-0450894DDD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" y="6"/>
            <a:ext cx="31089598" cy="15508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D0AF075-F9AA-354F-A1B6-79D45354163E}"/>
              </a:ext>
            </a:extLst>
          </p:cNvPr>
          <p:cNvSpPr/>
          <p:nvPr userDrawn="1"/>
        </p:nvSpPr>
        <p:spPr>
          <a:xfrm>
            <a:off x="8" y="9856602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AEDABAA-6F6C-334C-B869-A03C757F49FC}"/>
              </a:ext>
            </a:extLst>
          </p:cNvPr>
          <p:cNvCxnSpPr>
            <a:cxnSpLocks/>
          </p:cNvCxnSpPr>
          <p:nvPr userDrawn="1"/>
        </p:nvCxnSpPr>
        <p:spPr>
          <a:xfrm>
            <a:off x="0" y="13279690"/>
            <a:ext cx="310896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717EEBB-EFE7-40C1-94DE-60F3F3654D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10359536"/>
            <a:ext cx="26278483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400541" y="12179182"/>
            <a:ext cx="26280426" cy="9979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4815913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ound, outdoor&#10;&#10;Description automatically generated">
            <a:extLst>
              <a:ext uri="{FF2B5EF4-FFF2-40B4-BE49-F238E27FC236}">
                <a16:creationId xmlns:a16="http://schemas.microsoft.com/office/drawing/2014/main" id="{E5B6028A-E6AA-49A7-94FD-729179F225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" y="1"/>
            <a:ext cx="31089598" cy="155082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C91607E-75F4-4BEA-9115-ED8B466C734E}"/>
              </a:ext>
            </a:extLst>
          </p:cNvPr>
          <p:cNvSpPr/>
          <p:nvPr userDrawn="1"/>
        </p:nvSpPr>
        <p:spPr>
          <a:xfrm>
            <a:off x="8" y="9856602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8431A29-EC93-4C7E-8226-5FEE9BF9D1CD}"/>
              </a:ext>
            </a:extLst>
          </p:cNvPr>
          <p:cNvCxnSpPr>
            <a:cxnSpLocks/>
          </p:cNvCxnSpPr>
          <p:nvPr userDrawn="1"/>
        </p:nvCxnSpPr>
        <p:spPr>
          <a:xfrm>
            <a:off x="0" y="13279690"/>
            <a:ext cx="310896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993B96-A9D9-45FB-B6FE-993B7699D3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10359536"/>
            <a:ext cx="26278483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5F1447-D9C4-4259-A3EE-D466BF0077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0541" y="12179182"/>
            <a:ext cx="26280426" cy="9979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75088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utdoor, snow&#10;&#10;Description automatically generated">
            <a:extLst>
              <a:ext uri="{FF2B5EF4-FFF2-40B4-BE49-F238E27FC236}">
                <a16:creationId xmlns:a16="http://schemas.microsoft.com/office/drawing/2014/main" id="{6CC594FD-5A7A-4077-B8BB-E837BF19B8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"/>
            <a:ext cx="31089600" cy="1550828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C91607E-75F4-4BEA-9115-ED8B466C734E}"/>
              </a:ext>
            </a:extLst>
          </p:cNvPr>
          <p:cNvSpPr/>
          <p:nvPr userDrawn="1"/>
        </p:nvSpPr>
        <p:spPr>
          <a:xfrm>
            <a:off x="8" y="9856602"/>
            <a:ext cx="31089598" cy="3880428"/>
          </a:xfrm>
          <a:prstGeom prst="rect">
            <a:avLst/>
          </a:prstGeom>
          <a:solidFill>
            <a:srgbClr val="012DB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>
              <a:solidFill>
                <a:srgbClr val="012DB8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8431A29-EC93-4C7E-8226-5FEE9BF9D1CD}"/>
              </a:ext>
            </a:extLst>
          </p:cNvPr>
          <p:cNvCxnSpPr>
            <a:cxnSpLocks/>
          </p:cNvCxnSpPr>
          <p:nvPr userDrawn="1"/>
        </p:nvCxnSpPr>
        <p:spPr>
          <a:xfrm>
            <a:off x="0" y="13279690"/>
            <a:ext cx="310896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993B96-A9D9-45FB-B6FE-993B7699D3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5" y="10359536"/>
            <a:ext cx="26278483" cy="1985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>
                <a:latin typeface="GT America Extended Black"/>
              </a:rPr>
              <a:t>Section Divider Title</a:t>
            </a:r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5F1447-D9C4-4259-A3EE-D466BF0077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00541" y="12179182"/>
            <a:ext cx="26280426" cy="9979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6561396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207A8A-CDA0-764C-ADA7-4C209BAD1A51}"/>
              </a:ext>
            </a:extLst>
          </p:cNvPr>
          <p:cNvSpPr/>
          <p:nvPr userDrawn="1"/>
        </p:nvSpPr>
        <p:spPr>
          <a:xfrm>
            <a:off x="0" y="2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0EE4B4-640F-DC4D-90F8-C725F5FB13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90642" y="1048249"/>
            <a:ext cx="7675245" cy="1341179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400549" y="10028697"/>
            <a:ext cx="10609324" cy="7650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400541" y="4755875"/>
            <a:ext cx="10725912" cy="50660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80000"/>
              </a:lnSpc>
              <a:buNone/>
              <a:defRPr sz="15897" baseline="0">
                <a:solidFill>
                  <a:srgbClr val="FFFFFF"/>
                </a:solidFill>
                <a:latin typeface="GT America Extended Black"/>
                <a:cs typeface="GT America Extended Black"/>
              </a:defRPr>
            </a:lvl1pPr>
          </a:lstStyle>
          <a:p>
            <a:pPr lvl="0"/>
            <a:r>
              <a:rPr lang="en-US"/>
              <a:t>Section</a:t>
            </a:r>
            <a:br>
              <a:rPr lang="en-US"/>
            </a:br>
            <a:r>
              <a:rPr lang="en-US"/>
              <a:t>Divider</a:t>
            </a:r>
            <a:br>
              <a:rPr lang="en-US"/>
            </a:br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024537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5147362-BD7F-C640-A2E8-0AD5118E4C43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E294CF-314D-7146-B214-780AB3AADA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147447" y="875934"/>
            <a:ext cx="13536930" cy="13756426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4B40682-EB5E-4A6A-AF53-556CA9E50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3" y="4755875"/>
            <a:ext cx="10725912" cy="50660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80000"/>
              </a:lnSpc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 b="1">
                <a:latin typeface="GT America Extended Black"/>
              </a:rPr>
              <a:t>Section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Divider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01678" y="10028697"/>
            <a:ext cx="10609324" cy="7650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 baseline="0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6954225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AAF3F9-557C-4549-9197-A8A39F55E3F0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B4B50C-69A8-424C-97D1-0A3FF554F1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54396" y="717979"/>
            <a:ext cx="13860780" cy="1407233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60FAAED-3372-405F-8139-78DEBEADCC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3" y="4755875"/>
            <a:ext cx="10725912" cy="50660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80000"/>
              </a:lnSpc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 b="1">
                <a:latin typeface="GT America Extended Black"/>
              </a:rPr>
              <a:t>Section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Divider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00539" y="10028697"/>
            <a:ext cx="10609324" cy="7650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834233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37410" y="4128364"/>
            <a:ext cx="13213080" cy="9839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739110" y="4128364"/>
            <a:ext cx="13213080" cy="9839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668916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C0E986-ACA7-9848-BACB-4ACA0F90F44D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6E123C-5487-1647-A60A-12874FF930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44252" y="1048249"/>
            <a:ext cx="15059025" cy="1341179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1231524-55AA-4B6D-B6F7-04A6C16DBD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3" y="4755875"/>
            <a:ext cx="10725912" cy="50660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80000"/>
              </a:lnSpc>
              <a:buNone/>
              <a:defRPr sz="15897" b="1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 b="1">
                <a:latin typeface="GT America Extended Black"/>
              </a:rPr>
              <a:t>Section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Divider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00539" y="10028697"/>
            <a:ext cx="10609324" cy="7650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2150914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EE9757-496C-F744-8C87-2FA43D8FFA91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A962ED-1F17-A842-8356-DA636E75DD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323256" y="919014"/>
            <a:ext cx="13472160" cy="13670267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C0D6A54-6264-41C4-9AB0-7F68A1C136F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01673" y="4755875"/>
            <a:ext cx="10725912" cy="50660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80000"/>
              </a:lnSpc>
              <a:buNone/>
              <a:defRPr sz="15897" b="0">
                <a:solidFill>
                  <a:schemeClr val="bg1"/>
                </a:solidFill>
                <a:latin typeface="GT America Extended Black"/>
              </a:defRPr>
            </a:lvl1pPr>
          </a:lstStyle>
          <a:p>
            <a:pPr lvl="0"/>
            <a:r>
              <a:rPr lang="en-US" sz="15897" b="1">
                <a:latin typeface="GT America Extended Black"/>
              </a:rPr>
              <a:t>Section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Divider</a:t>
            </a:r>
            <a:br>
              <a:rPr lang="en-US" sz="15897" b="1">
                <a:latin typeface="GT America Extended Black"/>
              </a:rPr>
            </a:br>
            <a:r>
              <a:rPr lang="en-US" sz="15897" b="1">
                <a:latin typeface="GT America Extended Black"/>
              </a:rPr>
              <a:t>Tit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00539" y="10028697"/>
            <a:ext cx="10609324" cy="7650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7226">
                <a:solidFill>
                  <a:srgbClr val="FFFFFF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6106172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Placeholder 6" descr="boa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552577" y="6"/>
            <a:ext cx="15552574" cy="13978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30EA907-0EA7-44AE-88AC-485D0CED9C07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6CF6CBC-B73B-45EE-B343-3EF9C3BDD9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4405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laceholder photo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15552577" y="6"/>
            <a:ext cx="15552574" cy="13978136"/>
          </a:xfrm>
          <a:prstGeom prst="rect">
            <a:avLst/>
          </a:prstGeom>
        </p:spPr>
        <p:txBody>
          <a:bodyPr vert="horz" lIns="91440" tIns="91440" rIns="91440" bIns="91440" anchor="ctr" anchorCtr="1"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31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pic>
        <p:nvPicPr>
          <p:cNvPr id="10" name="Picture Placeholder 6" descr="PATH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552578" y="847790"/>
            <a:ext cx="14549933" cy="12303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1336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lacehold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5552578" y="847790"/>
            <a:ext cx="14549933" cy="12303242"/>
          </a:xfrm>
          <a:prstGeom prst="rect">
            <a:avLst/>
          </a:prstGeom>
        </p:spPr>
        <p:txBody>
          <a:bodyPr vert="horz" anchor="ctr" anchorCtr="1"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5572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3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74CE59E-F74B-2241-AA50-19115698CE28}"/>
              </a:ext>
            </a:extLst>
          </p:cNvPr>
          <p:cNvSpPr/>
          <p:nvPr userDrawn="1"/>
        </p:nvSpPr>
        <p:spPr>
          <a:xfrm>
            <a:off x="15544793" y="863823"/>
            <a:ext cx="7228332" cy="412310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01DA2D-29DB-514B-9963-FE6EAE14890E}"/>
              </a:ext>
            </a:extLst>
          </p:cNvPr>
          <p:cNvSpPr/>
          <p:nvPr userDrawn="1"/>
        </p:nvSpPr>
        <p:spPr>
          <a:xfrm>
            <a:off x="22734278" y="4963264"/>
            <a:ext cx="7221865" cy="4111273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E3AB797-CCAF-F448-A0FC-9250709F566F}"/>
              </a:ext>
            </a:extLst>
          </p:cNvPr>
          <p:cNvSpPr/>
          <p:nvPr userDrawn="1"/>
        </p:nvSpPr>
        <p:spPr>
          <a:xfrm>
            <a:off x="15544795" y="9074535"/>
            <a:ext cx="7228332" cy="4111273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6C2BC8B-D54D-2244-A6B4-3EC114C307EF}"/>
              </a:ext>
            </a:extLst>
          </p:cNvPr>
          <p:cNvSpPr txBox="1">
            <a:spLocks/>
          </p:cNvSpPr>
          <p:nvPr userDrawn="1"/>
        </p:nvSpPr>
        <p:spPr>
          <a:xfrm>
            <a:off x="16045432" y="10088917"/>
            <a:ext cx="6157825" cy="23715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3466">
              <a:solidFill>
                <a:schemeClr val="bg1"/>
              </a:solidFill>
              <a:latin typeface="GT America" pitchFamily="2" charset="77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534FD71-D8AE-E843-A1B9-F1D995CF1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44793" y="4979193"/>
            <a:ext cx="7228332" cy="411008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4D70EEE-4D99-EA4A-AE4A-AC6C7FA818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1"/>
          <a:stretch/>
        </p:blipFill>
        <p:spPr>
          <a:xfrm>
            <a:off x="22742129" y="863830"/>
            <a:ext cx="7234131" cy="411127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7ECCFB0-5FD7-3F4A-BE8A-5FD4046F24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34270" y="9070891"/>
            <a:ext cx="7209598" cy="4111273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71054" y="1310313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6071054" y="2064189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362952" y="5458801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3362952" y="6212679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6134953" y="9604388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134953" y="10358263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7110071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3 placeholder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329082" y="4797234"/>
            <a:ext cx="12941046" cy="7754146"/>
          </a:xfrm>
          <a:prstGeom prst="rect">
            <a:avLst/>
          </a:prstGeom>
        </p:spPr>
        <p:txBody>
          <a:bodyPr vert="horz" lIns="0" tIns="0" rIns="0" bIns="0"/>
          <a:lstStyle>
            <a:lvl1pPr marL="819173" indent="-819173">
              <a:lnSpc>
                <a:spcPct val="100000"/>
              </a:lnSpc>
              <a:spcBef>
                <a:spcPts val="4624"/>
              </a:spcBef>
              <a:defRPr sz="5201"/>
            </a:lvl1pPr>
            <a:lvl2pPr marL="819173" indent="-819173">
              <a:lnSpc>
                <a:spcPct val="100000"/>
              </a:lnSpc>
              <a:defRPr sz="5201"/>
            </a:lvl2pPr>
            <a:lvl3pPr marL="819173" indent="-819173">
              <a:lnSpc>
                <a:spcPct val="100000"/>
              </a:lnSpc>
              <a:spcBef>
                <a:spcPts val="4624"/>
              </a:spcBef>
              <a:defRPr sz="5201"/>
            </a:lvl3pPr>
            <a:lvl4pPr marL="0" indent="0">
              <a:lnSpc>
                <a:spcPct val="100000"/>
              </a:lnSpc>
              <a:buNone/>
              <a:defRPr sz="5201"/>
            </a:lvl4pPr>
            <a:lvl5pPr marL="819173" indent="-819173">
              <a:lnSpc>
                <a:spcPct val="100000"/>
              </a:lnSpc>
              <a:spcBef>
                <a:spcPts val="4624"/>
              </a:spcBef>
              <a:defRPr sz="520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74CE59E-F74B-2241-AA50-19115698CE28}"/>
              </a:ext>
            </a:extLst>
          </p:cNvPr>
          <p:cNvSpPr/>
          <p:nvPr userDrawn="1"/>
        </p:nvSpPr>
        <p:spPr>
          <a:xfrm>
            <a:off x="15544793" y="863823"/>
            <a:ext cx="7228332" cy="412310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B01DA2D-29DB-514B-9963-FE6EAE14890E}"/>
              </a:ext>
            </a:extLst>
          </p:cNvPr>
          <p:cNvSpPr/>
          <p:nvPr userDrawn="1"/>
        </p:nvSpPr>
        <p:spPr>
          <a:xfrm>
            <a:off x="22734278" y="4963264"/>
            <a:ext cx="7221865" cy="4111273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E3AB797-CCAF-F448-A0FC-9250709F566F}"/>
              </a:ext>
            </a:extLst>
          </p:cNvPr>
          <p:cNvSpPr/>
          <p:nvPr userDrawn="1"/>
        </p:nvSpPr>
        <p:spPr>
          <a:xfrm>
            <a:off x="15544795" y="9074535"/>
            <a:ext cx="7228332" cy="4111273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46C2BC8B-D54D-2244-A6B4-3EC114C307EF}"/>
              </a:ext>
            </a:extLst>
          </p:cNvPr>
          <p:cNvSpPr txBox="1">
            <a:spLocks/>
          </p:cNvSpPr>
          <p:nvPr userDrawn="1"/>
        </p:nvSpPr>
        <p:spPr>
          <a:xfrm>
            <a:off x="16045432" y="10088917"/>
            <a:ext cx="6157825" cy="23715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3466">
              <a:solidFill>
                <a:schemeClr val="bg1"/>
              </a:solidFill>
              <a:latin typeface="GT America" pitchFamily="2" charset="77"/>
              <a:cs typeface="Arial" panose="020B0604020202020204" pitchFamily="34" charset="0"/>
            </a:endParaRP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6071054" y="1310313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6071054" y="2064189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362952" y="5458801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3362952" y="6212679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6134953" y="9604388"/>
            <a:ext cx="6107658" cy="7538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466" b="1" i="0">
                <a:solidFill>
                  <a:schemeClr val="bg1"/>
                </a:solidFill>
                <a:latin typeface="GT America Bold"/>
                <a:cs typeface="GT America Bold"/>
              </a:defRPr>
            </a:lvl1pPr>
          </a:lstStyle>
          <a:p>
            <a:pPr lvl="0"/>
            <a:r>
              <a:rPr lang="en-US"/>
              <a:t>Caption Header</a:t>
            </a:r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134953" y="10358263"/>
            <a:ext cx="6107658" cy="2344192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FFFFFF"/>
                </a:solidFill>
                <a:latin typeface="GT America Regular"/>
                <a:cs typeface="GT America Regular"/>
              </a:defRPr>
            </a:lvl1pPr>
          </a:lstStyle>
          <a:p>
            <a:pPr lvl="0"/>
            <a:r>
              <a:rPr lang="en-US"/>
              <a:t>Text he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2734270" y="865164"/>
            <a:ext cx="7228332" cy="4114865"/>
          </a:xfrm>
          <a:prstGeom prst="rect">
            <a:avLst/>
          </a:prstGeom>
        </p:spPr>
        <p:txBody>
          <a:bodyPr vert="horz" lIns="0" tIns="0" rIns="0" bIns="0" anchor="ctr" anchorCtr="1"/>
          <a:lstStyle>
            <a:lvl1pPr>
              <a:defRPr sz="5781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2734270" y="9077522"/>
            <a:ext cx="7228332" cy="4114865"/>
          </a:xfrm>
          <a:prstGeom prst="rect">
            <a:avLst/>
          </a:prstGeom>
        </p:spPr>
        <p:txBody>
          <a:bodyPr vert="horz" lIns="0" tIns="0" rIns="0" bIns="0" anchor="ctr" anchorCtr="1"/>
          <a:lstStyle>
            <a:lvl1pPr>
              <a:defRPr sz="5781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5552574" y="4983332"/>
            <a:ext cx="7228332" cy="4114865"/>
          </a:xfrm>
          <a:prstGeom prst="rect">
            <a:avLst/>
          </a:prstGeom>
        </p:spPr>
        <p:txBody>
          <a:bodyPr vert="horz" lIns="0" tIns="0" rIns="0" bIns="0" anchor="ctr" anchorCtr="1"/>
          <a:lstStyle>
            <a:lvl1pPr>
              <a:defRPr sz="5781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8237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14314" y="14548033"/>
            <a:ext cx="2538510" cy="4125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466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31" name="Title 1"/>
          <p:cNvSpPr>
            <a:spLocks noGrp="1"/>
          </p:cNvSpPr>
          <p:nvPr>
            <p:ph type="title" hasCustomPrompt="1"/>
          </p:nvPr>
        </p:nvSpPr>
        <p:spPr>
          <a:xfrm>
            <a:off x="1422352" y="1075247"/>
            <a:ext cx="12847777" cy="1447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3006" baseline="0">
                <a:solidFill>
                  <a:srgbClr val="022DB7"/>
                </a:solidFill>
                <a:latin typeface="GT America Extended Black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422352" y="2605394"/>
            <a:ext cx="12847777" cy="9511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5781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46C2BC8B-D54D-2244-A6B4-3EC114C307EF}"/>
              </a:ext>
            </a:extLst>
          </p:cNvPr>
          <p:cNvSpPr txBox="1">
            <a:spLocks/>
          </p:cNvSpPr>
          <p:nvPr userDrawn="1"/>
        </p:nvSpPr>
        <p:spPr>
          <a:xfrm>
            <a:off x="16045432" y="10088917"/>
            <a:ext cx="6157825" cy="237151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3466">
              <a:solidFill>
                <a:schemeClr val="bg1"/>
              </a:solidFill>
              <a:latin typeface="GT America" pitchFamily="2" charset="77"/>
              <a:cs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583339-AEF9-724F-BC6D-754695DC25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73734" y="3763346"/>
            <a:ext cx="7111746" cy="81265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5201" b="1" i="0">
                <a:solidFill>
                  <a:schemeClr val="tx1">
                    <a:lumMod val="65000"/>
                    <a:lumOff val="35000"/>
                  </a:schemeClr>
                </a:solidFill>
                <a:latin typeface="GT America Black" pitchFamily="2" charset="77"/>
              </a:defRPr>
            </a:lvl1pPr>
          </a:lstStyle>
          <a:p>
            <a:pPr lvl="0"/>
            <a:r>
              <a:rPr lang="en-US"/>
              <a:t>Chart Title Goes Here</a:t>
            </a:r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CF81C7E7-AAB4-204B-8A6C-88754244EDBF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580734" y="4549101"/>
            <a:ext cx="18164099" cy="8622609"/>
          </a:xfrm>
          <a:prstGeom prst="rect">
            <a:avLst/>
          </a:prstGeom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Line Chart</a:t>
            </a:r>
          </a:p>
        </p:txBody>
      </p:sp>
    </p:spTree>
    <p:extLst>
      <p:ext uri="{BB962C8B-B14F-4D97-AF65-F5344CB8AC3E}">
        <p14:creationId xmlns:p14="http://schemas.microsoft.com/office/powerpoint/2010/main" val="2417304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7D3EB4-5148-014E-81EC-F0C11A61CB8A}"/>
              </a:ext>
            </a:extLst>
          </p:cNvPr>
          <p:cNvSpPr/>
          <p:nvPr userDrawn="1"/>
        </p:nvSpPr>
        <p:spPr>
          <a:xfrm>
            <a:off x="-11575" y="0"/>
            <a:ext cx="31101175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87BE6B-2BE3-E149-B4BB-2238AD72F1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058626" y="11645518"/>
            <a:ext cx="5120157" cy="21682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937F86B-4A28-3C4F-A6DA-13F67937DD11}"/>
              </a:ext>
            </a:extLst>
          </p:cNvPr>
          <p:cNvSpPr txBox="1">
            <a:spLocks/>
          </p:cNvSpPr>
          <p:nvPr userDrawn="1"/>
        </p:nvSpPr>
        <p:spPr>
          <a:xfrm>
            <a:off x="2302827" y="4286226"/>
            <a:ext cx="26773548" cy="1977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9600" b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ngineering Department</a:t>
            </a:r>
          </a:p>
          <a:p>
            <a:pPr>
              <a:lnSpc>
                <a:spcPct val="150000"/>
              </a:lnSpc>
            </a:pPr>
            <a:r>
              <a:rPr lang="en-US" sz="66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igital Transformation Program</a:t>
            </a:r>
          </a:p>
          <a:p>
            <a:pPr>
              <a:lnSpc>
                <a:spcPct val="150000"/>
              </a:lnSpc>
            </a:pPr>
            <a:endParaRPr lang="en-US" sz="5400" b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9" name="Picture 8" descr="wwwpanynj.png">
            <a:hlinkClick r:id="rId3"/>
            <a:extLst>
              <a:ext uri="{FF2B5EF4-FFF2-40B4-BE49-F238E27FC236}">
                <a16:creationId xmlns:a16="http://schemas.microsoft.com/office/drawing/2014/main" id="{D982FA86-90DC-5E43-BD5C-921DDAEE626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561" y="13300988"/>
            <a:ext cx="3495001" cy="452105"/>
          </a:xfrm>
          <a:prstGeom prst="rect">
            <a:avLst/>
          </a:prstGeom>
        </p:spPr>
      </p:pic>
      <p:pic>
        <p:nvPicPr>
          <p:cNvPr id="10" name="Picture 9" descr="facebookICON.png">
            <a:hlinkClick r:id="rId5"/>
            <a:extLst>
              <a:ext uri="{FF2B5EF4-FFF2-40B4-BE49-F238E27FC236}">
                <a16:creationId xmlns:a16="http://schemas.microsoft.com/office/drawing/2014/main" id="{D73EDA74-5A6A-0C46-A81B-C459801EE7D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261" y="13227609"/>
            <a:ext cx="715061" cy="634116"/>
          </a:xfrm>
          <a:prstGeom prst="rect">
            <a:avLst/>
          </a:prstGeom>
        </p:spPr>
      </p:pic>
      <p:pic>
        <p:nvPicPr>
          <p:cNvPr id="12" name="Picture 11" descr="twitterICON.png">
            <a:hlinkClick r:id="rId7"/>
            <a:extLst>
              <a:ext uri="{FF2B5EF4-FFF2-40B4-BE49-F238E27FC236}">
                <a16:creationId xmlns:a16="http://schemas.microsoft.com/office/drawing/2014/main" id="{342BB023-4491-4B46-87F8-ED78ED5AA9B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154" y="13219331"/>
            <a:ext cx="738378" cy="634116"/>
          </a:xfrm>
          <a:prstGeom prst="rect">
            <a:avLst/>
          </a:prstGeom>
        </p:spPr>
      </p:pic>
      <p:pic>
        <p:nvPicPr>
          <p:cNvPr id="14" name="Picture 13" descr="linkedInICON.png">
            <a:hlinkClick r:id="rId9"/>
            <a:extLst>
              <a:ext uri="{FF2B5EF4-FFF2-40B4-BE49-F238E27FC236}">
                <a16:creationId xmlns:a16="http://schemas.microsoft.com/office/drawing/2014/main" id="{55183DE4-8142-4E49-99D7-91975612EBE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971" y="13215593"/>
            <a:ext cx="715061" cy="634116"/>
          </a:xfrm>
          <a:prstGeom prst="rect">
            <a:avLst/>
          </a:prstGeom>
        </p:spPr>
      </p:pic>
      <p:pic>
        <p:nvPicPr>
          <p:cNvPr id="16" name="Picture 15" descr="linkedInICON.png">
            <a:hlinkClick r:id="rId11"/>
            <a:extLst>
              <a:ext uri="{FF2B5EF4-FFF2-40B4-BE49-F238E27FC236}">
                <a16:creationId xmlns:a16="http://schemas.microsoft.com/office/drawing/2014/main" id="{0E637FB3-FC31-4746-B5AA-E9B2D6F6582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960" y="13201232"/>
            <a:ext cx="746149" cy="63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8809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1459" y="825674"/>
            <a:ext cx="26814780" cy="29975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41461" y="3801686"/>
            <a:ext cx="13152357" cy="1863147"/>
          </a:xfrm>
        </p:spPr>
        <p:txBody>
          <a:bodyPr anchor="b"/>
          <a:lstStyle>
            <a:lvl1pPr marL="0" indent="0">
              <a:buNone/>
              <a:defRPr sz="5427" b="1"/>
            </a:lvl1pPr>
            <a:lvl2pPr marL="1033866" indent="0">
              <a:buNone/>
              <a:defRPr sz="4523" b="1"/>
            </a:lvl2pPr>
            <a:lvl3pPr marL="2067733" indent="0">
              <a:buNone/>
              <a:defRPr sz="4070" b="1"/>
            </a:lvl3pPr>
            <a:lvl4pPr marL="3101599" indent="0">
              <a:buNone/>
              <a:defRPr sz="3618" b="1"/>
            </a:lvl4pPr>
            <a:lvl5pPr marL="4135465" indent="0">
              <a:buNone/>
              <a:defRPr sz="3618" b="1"/>
            </a:lvl5pPr>
            <a:lvl6pPr marL="5169332" indent="0">
              <a:buNone/>
              <a:defRPr sz="3618" b="1"/>
            </a:lvl6pPr>
            <a:lvl7pPr marL="6203198" indent="0">
              <a:buNone/>
              <a:defRPr sz="3618" b="1"/>
            </a:lvl7pPr>
            <a:lvl8pPr marL="7237065" indent="0">
              <a:buNone/>
              <a:defRPr sz="3618" b="1"/>
            </a:lvl8pPr>
            <a:lvl9pPr marL="8270931" indent="0">
              <a:buNone/>
              <a:defRPr sz="361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41461" y="5664833"/>
            <a:ext cx="13152357" cy="83321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5739110" y="3801686"/>
            <a:ext cx="13217129" cy="1863147"/>
          </a:xfrm>
        </p:spPr>
        <p:txBody>
          <a:bodyPr anchor="b"/>
          <a:lstStyle>
            <a:lvl1pPr marL="0" indent="0">
              <a:buNone/>
              <a:defRPr sz="5427" b="1"/>
            </a:lvl1pPr>
            <a:lvl2pPr marL="1033866" indent="0">
              <a:buNone/>
              <a:defRPr sz="4523" b="1"/>
            </a:lvl2pPr>
            <a:lvl3pPr marL="2067733" indent="0">
              <a:buNone/>
              <a:defRPr sz="4070" b="1"/>
            </a:lvl3pPr>
            <a:lvl4pPr marL="3101599" indent="0">
              <a:buNone/>
              <a:defRPr sz="3618" b="1"/>
            </a:lvl4pPr>
            <a:lvl5pPr marL="4135465" indent="0">
              <a:buNone/>
              <a:defRPr sz="3618" b="1"/>
            </a:lvl5pPr>
            <a:lvl6pPr marL="5169332" indent="0">
              <a:buNone/>
              <a:defRPr sz="3618" b="1"/>
            </a:lvl6pPr>
            <a:lvl7pPr marL="6203198" indent="0">
              <a:buNone/>
              <a:defRPr sz="3618" b="1"/>
            </a:lvl7pPr>
            <a:lvl8pPr marL="7237065" indent="0">
              <a:buNone/>
              <a:defRPr sz="3618" b="1"/>
            </a:lvl8pPr>
            <a:lvl9pPr marL="8270931" indent="0">
              <a:buNone/>
              <a:defRPr sz="361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5739110" y="5664833"/>
            <a:ext cx="13217129" cy="83321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128283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7D3EB4-5148-014E-81EC-F0C11A61CB8A}"/>
              </a:ext>
            </a:extLst>
          </p:cNvPr>
          <p:cNvSpPr/>
          <p:nvPr userDrawn="1"/>
        </p:nvSpPr>
        <p:spPr>
          <a:xfrm>
            <a:off x="2" y="2"/>
            <a:ext cx="31101175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87BE6B-2BE3-E149-B4BB-2238AD72F1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058626" y="11645518"/>
            <a:ext cx="5120157" cy="2168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9668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46053E-C818-594B-81A8-8137F227FD21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5F54B9-35F5-2948-9806-C369FEF50D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984724" y="11645519"/>
            <a:ext cx="5120157" cy="21682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3A952EC-2BA7-6B43-B4B5-C024CA5F2394}"/>
              </a:ext>
            </a:extLst>
          </p:cNvPr>
          <p:cNvSpPr txBox="1">
            <a:spLocks/>
          </p:cNvSpPr>
          <p:nvPr userDrawn="1"/>
        </p:nvSpPr>
        <p:spPr>
          <a:xfrm>
            <a:off x="1910830" y="6090963"/>
            <a:ext cx="27267954" cy="1977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897" b="1">
                <a:solidFill>
                  <a:schemeClr val="bg1"/>
                </a:solidFill>
                <a:latin typeface="GT America Extended Black" pitchFamily="2" charset="77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11" name="Picture 10" descr="wwwpanynj.png">
            <a:hlinkClick r:id="rId3"/>
            <a:extLst>
              <a:ext uri="{FF2B5EF4-FFF2-40B4-BE49-F238E27FC236}">
                <a16:creationId xmlns:a16="http://schemas.microsoft.com/office/drawing/2014/main" id="{6F60FB94-FB3F-1A41-87E5-38F6425396F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6072" y="9335817"/>
            <a:ext cx="3495001" cy="452105"/>
          </a:xfrm>
          <a:prstGeom prst="rect">
            <a:avLst/>
          </a:prstGeom>
        </p:spPr>
      </p:pic>
      <p:pic>
        <p:nvPicPr>
          <p:cNvPr id="12" name="Picture 11" descr="facebookICON.png">
            <a:hlinkClick r:id="rId5"/>
            <a:extLst>
              <a:ext uri="{FF2B5EF4-FFF2-40B4-BE49-F238E27FC236}">
                <a16:creationId xmlns:a16="http://schemas.microsoft.com/office/drawing/2014/main" id="{59CFE89A-7815-4A49-B0AD-7F25800C7C0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1775" y="9262439"/>
            <a:ext cx="715061" cy="634116"/>
          </a:xfrm>
          <a:prstGeom prst="rect">
            <a:avLst/>
          </a:prstGeom>
        </p:spPr>
      </p:pic>
      <p:pic>
        <p:nvPicPr>
          <p:cNvPr id="13" name="Picture 12" descr="twitterICON.png">
            <a:hlinkClick r:id="rId7"/>
            <a:extLst>
              <a:ext uri="{FF2B5EF4-FFF2-40B4-BE49-F238E27FC236}">
                <a16:creationId xmlns:a16="http://schemas.microsoft.com/office/drawing/2014/main" id="{A01FF5BE-5605-5F41-824E-4245E3C554C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7668" y="9254162"/>
            <a:ext cx="738378" cy="634116"/>
          </a:xfrm>
          <a:prstGeom prst="rect">
            <a:avLst/>
          </a:prstGeom>
        </p:spPr>
      </p:pic>
      <p:pic>
        <p:nvPicPr>
          <p:cNvPr id="14" name="Picture 13" descr="linkedInICON.png">
            <a:hlinkClick r:id="rId9"/>
            <a:extLst>
              <a:ext uri="{FF2B5EF4-FFF2-40B4-BE49-F238E27FC236}">
                <a16:creationId xmlns:a16="http://schemas.microsoft.com/office/drawing/2014/main" id="{979951CB-70D0-EF46-8F6D-B2C17BAF13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5487" y="9250421"/>
            <a:ext cx="715061" cy="634116"/>
          </a:xfrm>
          <a:prstGeom prst="rect">
            <a:avLst/>
          </a:prstGeom>
        </p:spPr>
      </p:pic>
      <p:pic>
        <p:nvPicPr>
          <p:cNvPr id="15" name="Picture 14" descr="linkedInICON.png">
            <a:hlinkClick r:id="rId11"/>
            <a:extLst>
              <a:ext uri="{FF2B5EF4-FFF2-40B4-BE49-F238E27FC236}">
                <a16:creationId xmlns:a16="http://schemas.microsoft.com/office/drawing/2014/main" id="{4C3C43F3-AB17-3849-A3AF-EE0A1831692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8471" y="9236065"/>
            <a:ext cx="746149" cy="63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840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F66B71-A19D-094D-8963-B0AE16E9D547}"/>
              </a:ext>
            </a:extLst>
          </p:cNvPr>
          <p:cNvSpPr/>
          <p:nvPr userDrawn="1"/>
        </p:nvSpPr>
        <p:spPr>
          <a:xfrm>
            <a:off x="0" y="6"/>
            <a:ext cx="31089600" cy="1550828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E5FC27-C30C-EF4F-8946-7FFF023C0C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42138B4-DA4F-8542-BB98-9F5C454BAE26}"/>
              </a:ext>
            </a:extLst>
          </p:cNvPr>
          <p:cNvSpPr txBox="1">
            <a:spLocks/>
          </p:cNvSpPr>
          <p:nvPr userDrawn="1"/>
        </p:nvSpPr>
        <p:spPr>
          <a:xfrm>
            <a:off x="3012473" y="7031358"/>
            <a:ext cx="25064654" cy="1977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897" b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9" name="Picture 8" descr="wwwpanynj.png">
            <a:hlinkClick r:id="rId3"/>
            <a:extLst>
              <a:ext uri="{FF2B5EF4-FFF2-40B4-BE49-F238E27FC236}">
                <a16:creationId xmlns:a16="http://schemas.microsoft.com/office/drawing/2014/main" id="{F5FB2659-ADFC-1A42-B353-FD30D876A5A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8165" y="12850449"/>
            <a:ext cx="3495001" cy="452105"/>
          </a:xfrm>
          <a:prstGeom prst="rect">
            <a:avLst/>
          </a:prstGeom>
        </p:spPr>
      </p:pic>
      <p:pic>
        <p:nvPicPr>
          <p:cNvPr id="10" name="Picture 9" descr="facebookICON.png">
            <a:hlinkClick r:id="rId5"/>
            <a:extLst>
              <a:ext uri="{FF2B5EF4-FFF2-40B4-BE49-F238E27FC236}">
                <a16:creationId xmlns:a16="http://schemas.microsoft.com/office/drawing/2014/main" id="{51D77CB8-6138-DC49-9028-2CC2C7F2C6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3867" y="12777072"/>
            <a:ext cx="715061" cy="634116"/>
          </a:xfrm>
          <a:prstGeom prst="rect">
            <a:avLst/>
          </a:prstGeom>
        </p:spPr>
      </p:pic>
      <p:pic>
        <p:nvPicPr>
          <p:cNvPr id="11" name="Picture 10" descr="twitterICON.png">
            <a:hlinkClick r:id="rId7"/>
            <a:extLst>
              <a:ext uri="{FF2B5EF4-FFF2-40B4-BE49-F238E27FC236}">
                <a16:creationId xmlns:a16="http://schemas.microsoft.com/office/drawing/2014/main" id="{F6470918-1C29-094A-9589-36D1B6FD7CD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9763" y="12768793"/>
            <a:ext cx="738378" cy="634116"/>
          </a:xfrm>
          <a:prstGeom prst="rect">
            <a:avLst/>
          </a:prstGeom>
        </p:spPr>
      </p:pic>
      <p:pic>
        <p:nvPicPr>
          <p:cNvPr id="12" name="Picture 11" descr="linkedInICON.png">
            <a:hlinkClick r:id="rId9"/>
            <a:extLst>
              <a:ext uri="{FF2B5EF4-FFF2-40B4-BE49-F238E27FC236}">
                <a16:creationId xmlns:a16="http://schemas.microsoft.com/office/drawing/2014/main" id="{9C0E1BD4-75AE-3A48-A451-88EAE0679AC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7578" y="12765055"/>
            <a:ext cx="715061" cy="634116"/>
          </a:xfrm>
          <a:prstGeom prst="rect">
            <a:avLst/>
          </a:prstGeom>
        </p:spPr>
      </p:pic>
      <p:pic>
        <p:nvPicPr>
          <p:cNvPr id="13" name="Picture 12" descr="linkedInICON.png">
            <a:hlinkClick r:id="rId11"/>
            <a:extLst>
              <a:ext uri="{FF2B5EF4-FFF2-40B4-BE49-F238E27FC236}">
                <a16:creationId xmlns:a16="http://schemas.microsoft.com/office/drawing/2014/main" id="{2D5970C3-07C5-D34C-84B0-FF8270F664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90566" y="12750695"/>
            <a:ext cx="746149" cy="63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4518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E7D3EB4-5148-014E-81EC-F0C11A61CB8A}"/>
              </a:ext>
            </a:extLst>
          </p:cNvPr>
          <p:cNvSpPr/>
          <p:nvPr userDrawn="1"/>
        </p:nvSpPr>
        <p:spPr>
          <a:xfrm>
            <a:off x="2" y="2"/>
            <a:ext cx="31101175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87BE6B-2BE3-E149-B4BB-2238AD72F1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058626" y="11645518"/>
            <a:ext cx="5120157" cy="2168246"/>
          </a:xfrm>
          <a:prstGeom prst="rect">
            <a:avLst/>
          </a:prstGeom>
        </p:spPr>
      </p:pic>
      <p:pic>
        <p:nvPicPr>
          <p:cNvPr id="11" name="Picture 10" descr="facebook.png">
            <a:hlinkClick r:id="rId3"/>
            <a:extLst>
              <a:ext uri="{FF2B5EF4-FFF2-40B4-BE49-F238E27FC236}">
                <a16:creationId xmlns:a16="http://schemas.microsoft.com/office/drawing/2014/main" id="{F339507C-80C1-BC42-A83F-9B8E7FCB31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231" y="13341402"/>
            <a:ext cx="2493796" cy="501128"/>
          </a:xfrm>
          <a:prstGeom prst="rect">
            <a:avLst/>
          </a:prstGeom>
        </p:spPr>
      </p:pic>
      <p:pic>
        <p:nvPicPr>
          <p:cNvPr id="13" name="Picture 12" descr="twitter.png">
            <a:hlinkClick r:id="rId5"/>
            <a:extLst>
              <a:ext uri="{FF2B5EF4-FFF2-40B4-BE49-F238E27FC236}">
                <a16:creationId xmlns:a16="http://schemas.microsoft.com/office/drawing/2014/main" id="{13C9478D-FA9B-8943-B662-12FBF99A9B7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4" y="13360598"/>
            <a:ext cx="2487654" cy="501128"/>
          </a:xfrm>
          <a:prstGeom prst="rect">
            <a:avLst/>
          </a:prstGeom>
        </p:spPr>
      </p:pic>
      <p:pic>
        <p:nvPicPr>
          <p:cNvPr id="15" name="Picture 14" descr="instragram.png">
            <a:hlinkClick r:id="rId7"/>
            <a:extLst>
              <a:ext uri="{FF2B5EF4-FFF2-40B4-BE49-F238E27FC236}">
                <a16:creationId xmlns:a16="http://schemas.microsoft.com/office/drawing/2014/main" id="{B76AC442-6B5D-6240-8971-2C1469E832A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121" y="13341409"/>
            <a:ext cx="2481512" cy="501128"/>
          </a:xfrm>
          <a:prstGeom prst="rect">
            <a:avLst/>
          </a:prstGeom>
        </p:spPr>
      </p:pic>
      <p:pic>
        <p:nvPicPr>
          <p:cNvPr id="17" name="Picture 16" descr="wwwpanynj.png">
            <a:hlinkClick r:id="rId9"/>
            <a:extLst>
              <a:ext uri="{FF2B5EF4-FFF2-40B4-BE49-F238E27FC236}">
                <a16:creationId xmlns:a16="http://schemas.microsoft.com/office/drawing/2014/main" id="{BC82AE0F-8DDA-FD48-9A76-026CAE27DD1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0381" y="13385248"/>
            <a:ext cx="3495001" cy="45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0821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46053E-C818-594B-81A8-8137F227FD21}"/>
              </a:ext>
            </a:extLst>
          </p:cNvPr>
          <p:cNvSpPr/>
          <p:nvPr userDrawn="1"/>
        </p:nvSpPr>
        <p:spPr>
          <a:xfrm>
            <a:off x="0" y="3"/>
            <a:ext cx="31089600" cy="1550828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5F54B9-35F5-2948-9806-C369FEF50D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984724" y="11645519"/>
            <a:ext cx="5120157" cy="21682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3A952EC-2BA7-6B43-B4B5-C024CA5F2394}"/>
              </a:ext>
            </a:extLst>
          </p:cNvPr>
          <p:cNvSpPr txBox="1">
            <a:spLocks/>
          </p:cNvSpPr>
          <p:nvPr userDrawn="1"/>
        </p:nvSpPr>
        <p:spPr>
          <a:xfrm>
            <a:off x="1910830" y="6090963"/>
            <a:ext cx="27267954" cy="1977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897" b="1">
                <a:solidFill>
                  <a:schemeClr val="bg1"/>
                </a:solidFill>
                <a:latin typeface="GT America Extended Black" pitchFamily="2" charset="77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16" name="Picture 15" descr="facebook.png">
            <a:hlinkClick r:id="rId3"/>
            <a:extLst>
              <a:ext uri="{FF2B5EF4-FFF2-40B4-BE49-F238E27FC236}">
                <a16:creationId xmlns:a16="http://schemas.microsoft.com/office/drawing/2014/main" id="{7D4ABA17-9297-764F-AA17-04D4002327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5738" y="9275282"/>
            <a:ext cx="2493796" cy="501128"/>
          </a:xfrm>
          <a:prstGeom prst="rect">
            <a:avLst/>
          </a:prstGeom>
        </p:spPr>
      </p:pic>
      <p:pic>
        <p:nvPicPr>
          <p:cNvPr id="17" name="Picture 16" descr="twitter.png">
            <a:hlinkClick r:id="rId5"/>
            <a:extLst>
              <a:ext uri="{FF2B5EF4-FFF2-40B4-BE49-F238E27FC236}">
                <a16:creationId xmlns:a16="http://schemas.microsoft.com/office/drawing/2014/main" id="{9CCADF7C-37C5-4841-BE28-399B1253D80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9283" y="9294481"/>
            <a:ext cx="2487654" cy="501128"/>
          </a:xfrm>
          <a:prstGeom prst="rect">
            <a:avLst/>
          </a:prstGeom>
        </p:spPr>
      </p:pic>
      <p:pic>
        <p:nvPicPr>
          <p:cNvPr id="18" name="Picture 17" descr="instragram.png">
            <a:hlinkClick r:id="rId7"/>
            <a:extLst>
              <a:ext uri="{FF2B5EF4-FFF2-40B4-BE49-F238E27FC236}">
                <a16:creationId xmlns:a16="http://schemas.microsoft.com/office/drawing/2014/main" id="{58E0906C-7C57-484E-A026-C1311CBF285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1630" y="9275287"/>
            <a:ext cx="2481512" cy="501128"/>
          </a:xfrm>
          <a:prstGeom prst="rect">
            <a:avLst/>
          </a:prstGeom>
        </p:spPr>
      </p:pic>
      <p:pic>
        <p:nvPicPr>
          <p:cNvPr id="19" name="Picture 18" descr="wwwpanynj.png">
            <a:hlinkClick r:id="rId9"/>
            <a:extLst>
              <a:ext uri="{FF2B5EF4-FFF2-40B4-BE49-F238E27FC236}">
                <a16:creationId xmlns:a16="http://schemas.microsoft.com/office/drawing/2014/main" id="{EFC2F45E-5A36-1E40-9847-1D115829086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0885" y="9319133"/>
            <a:ext cx="3495001" cy="45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4109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F66B71-A19D-094D-8963-B0AE16E9D547}"/>
              </a:ext>
            </a:extLst>
          </p:cNvPr>
          <p:cNvSpPr/>
          <p:nvPr userDrawn="1"/>
        </p:nvSpPr>
        <p:spPr>
          <a:xfrm>
            <a:off x="0" y="6"/>
            <a:ext cx="31089600" cy="1550828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E5FC27-C30C-EF4F-8946-7FFF023C0C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1600" y="1148765"/>
            <a:ext cx="28466415" cy="1355539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42138B4-DA4F-8542-BB98-9F5C454BAE26}"/>
              </a:ext>
            </a:extLst>
          </p:cNvPr>
          <p:cNvSpPr txBox="1">
            <a:spLocks/>
          </p:cNvSpPr>
          <p:nvPr userDrawn="1"/>
        </p:nvSpPr>
        <p:spPr>
          <a:xfrm>
            <a:off x="3012473" y="7031358"/>
            <a:ext cx="25064654" cy="197728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897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14" name="Picture 13" descr="facebook.png">
            <a:hlinkClick r:id="rId3"/>
            <a:extLst>
              <a:ext uri="{FF2B5EF4-FFF2-40B4-BE49-F238E27FC236}">
                <a16:creationId xmlns:a16="http://schemas.microsoft.com/office/drawing/2014/main" id="{DAE6103E-C784-8740-922C-20CCBBB433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5738" y="12902106"/>
            <a:ext cx="2493796" cy="501128"/>
          </a:xfrm>
          <a:prstGeom prst="rect">
            <a:avLst/>
          </a:prstGeom>
        </p:spPr>
      </p:pic>
      <p:pic>
        <p:nvPicPr>
          <p:cNvPr id="15" name="Picture 14" descr="twitter.png">
            <a:hlinkClick r:id="rId5"/>
            <a:extLst>
              <a:ext uri="{FF2B5EF4-FFF2-40B4-BE49-F238E27FC236}">
                <a16:creationId xmlns:a16="http://schemas.microsoft.com/office/drawing/2014/main" id="{D0854D39-BD06-614C-A31C-D084B37BE71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9283" y="12921302"/>
            <a:ext cx="2487654" cy="501128"/>
          </a:xfrm>
          <a:prstGeom prst="rect">
            <a:avLst/>
          </a:prstGeom>
        </p:spPr>
      </p:pic>
      <p:pic>
        <p:nvPicPr>
          <p:cNvPr id="16" name="Picture 15" descr="instragram.png">
            <a:hlinkClick r:id="rId7"/>
            <a:extLst>
              <a:ext uri="{FF2B5EF4-FFF2-40B4-BE49-F238E27FC236}">
                <a16:creationId xmlns:a16="http://schemas.microsoft.com/office/drawing/2014/main" id="{FE967A14-8E6C-3945-B316-1E106729652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1630" y="12902109"/>
            <a:ext cx="2481512" cy="501128"/>
          </a:xfrm>
          <a:prstGeom prst="rect">
            <a:avLst/>
          </a:prstGeom>
        </p:spPr>
      </p:pic>
      <p:pic>
        <p:nvPicPr>
          <p:cNvPr id="17" name="Picture 16" descr="wwwpanynj.png">
            <a:hlinkClick r:id="rId9"/>
            <a:extLst>
              <a:ext uri="{FF2B5EF4-FFF2-40B4-BE49-F238E27FC236}">
                <a16:creationId xmlns:a16="http://schemas.microsoft.com/office/drawing/2014/main" id="{3B665C72-ED15-C34B-AAE4-5282E115E45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0885" y="12945952"/>
            <a:ext cx="3495001" cy="45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06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1836000" y="2279438"/>
            <a:ext cx="27417600" cy="142464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aseline="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Kicker"/>
          <p:cNvSpPr>
            <a:spLocks noGrp="1"/>
          </p:cNvSpPr>
          <p:nvPr>
            <p:ph type="body" sz="quarter" idx="12" hasCustomPrompt="1"/>
          </p:nvPr>
        </p:nvSpPr>
        <p:spPr>
          <a:xfrm>
            <a:off x="1836000" y="13150019"/>
            <a:ext cx="27417600" cy="1098543"/>
          </a:xfrm>
          <a:solidFill>
            <a:schemeClr val="tx2"/>
          </a:solidFill>
          <a:ln w="3175">
            <a:solidFill>
              <a:schemeClr val="tx2"/>
            </a:solidFill>
          </a:ln>
        </p:spPr>
        <p:txBody>
          <a:bodyPr tIns="108000" bIns="108000" anchor="b" anchorCtr="1">
            <a:spAutoFit/>
          </a:bodyPr>
          <a:lstStyle>
            <a:lvl1pPr marL="0" marR="0" indent="0" algn="ctr" defTabSz="2642496" rtl="0" eaLnBrk="1" fontAlgn="auto" latinLnBrk="0" hangingPunct="1">
              <a:lnSpc>
                <a:spcPct val="90000"/>
              </a:lnSpc>
              <a:spcBef>
                <a:spcPts val="1735"/>
              </a:spcBef>
              <a:spcAft>
                <a:spcPts val="3466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57" b="1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2642496" rtl="0" eaLnBrk="1" fontAlgn="auto" latinLnBrk="0" hangingPunct="1">
              <a:lnSpc>
                <a:spcPct val="90000"/>
              </a:lnSpc>
              <a:spcBef>
                <a:spcPts val="1735"/>
              </a:spcBef>
              <a:spcAft>
                <a:spcPts val="3466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kicker or ‘so what’. Delete if not required.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1" hasCustomPrompt="1"/>
          </p:nvPr>
        </p:nvSpPr>
        <p:spPr>
          <a:xfrm>
            <a:off x="1836000" y="3744785"/>
            <a:ext cx="27417600" cy="90567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5201" baseline="0"/>
            </a:lvl1pPr>
            <a:lvl2pPr marL="779907" marR="0" indent="-779907" algn="l" defTabSz="2642496" rtl="0" eaLnBrk="1" fontAlgn="auto" latinLnBrk="0" hangingPunct="1">
              <a:lnSpc>
                <a:spcPct val="90000"/>
              </a:lnSpc>
              <a:spcBef>
                <a:spcPts val="867"/>
              </a:spcBef>
              <a:spcAft>
                <a:spcPts val="1735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4624">
                <a:solidFill>
                  <a:schemeClr val="tx1"/>
                </a:solidFill>
              </a:defRPr>
            </a:lvl2pPr>
            <a:lvl3pPr>
              <a:defRPr sz="4046">
                <a:solidFill>
                  <a:schemeClr val="tx1"/>
                </a:solidFill>
              </a:defRPr>
            </a:lvl3pPr>
            <a:lvl4pPr>
              <a:defRPr sz="3466">
                <a:solidFill>
                  <a:schemeClr val="tx1"/>
                </a:solidFill>
              </a:defRPr>
            </a:lvl4pPr>
            <a:lvl5pPr>
              <a:defRPr sz="3466">
                <a:solidFill>
                  <a:schemeClr val="tx1"/>
                </a:solidFill>
              </a:defRPr>
            </a:lvl5pPr>
          </a:lstStyle>
          <a:p>
            <a:pPr marL="779907" marR="0" lvl="1" indent="-779907" algn="l" defTabSz="2642496" rtl="0" eaLnBrk="1" fontAlgn="auto" latinLnBrk="0" hangingPunct="1">
              <a:lnSpc>
                <a:spcPct val="90000"/>
              </a:lnSpc>
              <a:spcBef>
                <a:spcPts val="867"/>
              </a:spcBef>
              <a:spcAft>
                <a:spcPts val="1735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add text, tables, charts, smart art, pictures or media</a:t>
            </a:r>
          </a:p>
          <a:p>
            <a:pPr lvl="1"/>
            <a:r>
              <a:rPr lang="en-US"/>
              <a:t>First bullet</a:t>
            </a:r>
          </a:p>
          <a:p>
            <a:pPr lvl="2"/>
            <a:r>
              <a:rPr lang="en-US"/>
              <a:t>Second bullet</a:t>
            </a:r>
          </a:p>
          <a:p>
            <a:pPr lvl="3"/>
            <a:r>
              <a:rPr lang="en-US"/>
              <a:t>Third bullet</a:t>
            </a:r>
          </a:p>
          <a:p>
            <a:pPr lvl="4"/>
            <a:r>
              <a:rPr lang="en-US"/>
              <a:t>Fourth bulle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174028F-FC55-4814-9D01-B1C00550C2C3}" type="datetime4">
              <a:rPr lang="en-GB" smtClean="0"/>
              <a:pPr/>
              <a:t>10 February 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03C551C-83BB-4568-94F6-AC8A8312A04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45596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ort Authority of New York and New Jersey - Wikipedia">
            <a:extLst>
              <a:ext uri="{FF2B5EF4-FFF2-40B4-BE49-F238E27FC236}">
                <a16:creationId xmlns:a16="http://schemas.microsoft.com/office/drawing/2014/main" id="{E1887D03-1C11-4FFC-8747-48CCD9A058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030" y="790330"/>
            <a:ext cx="25201539" cy="1392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FF61B5A-3AF5-40F1-825E-CA760F9DC52A}"/>
              </a:ext>
            </a:extLst>
          </p:cNvPr>
          <p:cNvGrpSpPr/>
          <p:nvPr userDrawn="1"/>
        </p:nvGrpSpPr>
        <p:grpSpPr>
          <a:xfrm>
            <a:off x="3333412" y="190188"/>
            <a:ext cx="22684784" cy="13460467"/>
            <a:chOff x="3333412" y="201692"/>
            <a:chExt cx="22684784" cy="1346046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FF1096-BB09-42D9-973C-A1DD97B6EC27}"/>
                </a:ext>
              </a:extLst>
            </p:cNvPr>
            <p:cNvSpPr/>
            <p:nvPr/>
          </p:nvSpPr>
          <p:spPr>
            <a:xfrm>
              <a:off x="3333412" y="4364135"/>
              <a:ext cx="4305979" cy="22398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A6D9481-15FD-49D1-9FA3-4E6998525339}"/>
                </a:ext>
              </a:extLst>
            </p:cNvPr>
            <p:cNvSpPr/>
            <p:nvPr/>
          </p:nvSpPr>
          <p:spPr>
            <a:xfrm>
              <a:off x="3652526" y="2814753"/>
              <a:ext cx="3718560" cy="3454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latin typeface="GT America Extended Black"/>
                </a:rPr>
                <a:t>Procuremen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F2ADBDB-E4DA-48D2-B06F-DB6D71CEDB21}"/>
                </a:ext>
              </a:extLst>
            </p:cNvPr>
            <p:cNvSpPr/>
            <p:nvPr/>
          </p:nvSpPr>
          <p:spPr>
            <a:xfrm>
              <a:off x="3652526" y="3367478"/>
              <a:ext cx="3718560" cy="3454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ntract Administra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27CA738-E6BC-474F-A1C6-819810897943}"/>
                </a:ext>
              </a:extLst>
            </p:cNvPr>
            <p:cNvSpPr/>
            <p:nvPr/>
          </p:nvSpPr>
          <p:spPr>
            <a:xfrm>
              <a:off x="3652526" y="392020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Organization of the Work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89AFC5-6B02-490C-AB4B-C0943D286045}"/>
                </a:ext>
              </a:extLst>
            </p:cNvPr>
            <p:cNvSpPr/>
            <p:nvPr/>
          </p:nvSpPr>
          <p:spPr>
            <a:xfrm>
              <a:off x="3639826" y="447292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Baseline Approval &amp; Change Control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F10C07D-688C-4B56-BC73-A5BAE01205BA}"/>
                </a:ext>
              </a:extLst>
            </p:cNvPr>
            <p:cNvSpPr/>
            <p:nvPr/>
          </p:nvSpPr>
          <p:spPr>
            <a:xfrm>
              <a:off x="3639824" y="502565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cope Managemen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ADFE114-E9C3-4987-8284-460B35F564B6}"/>
                </a:ext>
              </a:extLst>
            </p:cNvPr>
            <p:cNvSpPr/>
            <p:nvPr/>
          </p:nvSpPr>
          <p:spPr>
            <a:xfrm>
              <a:off x="3639824" y="557837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chedul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5ADE804-F1A5-4014-B5EE-9CBCFF41CE8E}"/>
                </a:ext>
              </a:extLst>
            </p:cNvPr>
            <p:cNvSpPr/>
            <p:nvPr/>
          </p:nvSpPr>
          <p:spPr>
            <a:xfrm>
              <a:off x="3652526" y="613110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s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CA9E9EE-5446-4336-8993-B42BB11974D5}"/>
                </a:ext>
              </a:extLst>
            </p:cNvPr>
            <p:cNvSpPr/>
            <p:nvPr/>
          </p:nvSpPr>
          <p:spPr>
            <a:xfrm>
              <a:off x="3639825" y="668382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Risk &amp; Opportunity Management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3642FC-08E4-456C-A0C2-B85067BC267C}"/>
                </a:ext>
              </a:extLst>
            </p:cNvPr>
            <p:cNvSpPr/>
            <p:nvPr/>
          </p:nvSpPr>
          <p:spPr>
            <a:xfrm>
              <a:off x="3627123" y="723655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Information Manag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CD6ABB0-7177-4FDE-9628-6CF83EC856BC}"/>
                </a:ext>
              </a:extLst>
            </p:cNvPr>
            <p:cNvSpPr/>
            <p:nvPr/>
          </p:nvSpPr>
          <p:spPr>
            <a:xfrm>
              <a:off x="3627123" y="778927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erformance &amp; Reporting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6D840E4-0EAF-48A8-A41C-6AC848A00E75}"/>
                </a:ext>
              </a:extLst>
            </p:cNvPr>
            <p:cNvSpPr/>
            <p:nvPr/>
          </p:nvSpPr>
          <p:spPr>
            <a:xfrm>
              <a:off x="3627123" y="834200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Quality, Inspection &amp; Testing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9F2A94E-C6AF-4D8F-84D4-90098BA185D6}"/>
                </a:ext>
              </a:extLst>
            </p:cNvPr>
            <p:cNvSpPr/>
            <p:nvPr/>
          </p:nvSpPr>
          <p:spPr>
            <a:xfrm>
              <a:off x="3627123" y="889472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afety, Health &amp; Environment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91E22B-F1F3-49F6-8EB1-E662C45DDABC}"/>
                </a:ext>
              </a:extLst>
            </p:cNvPr>
            <p:cNvSpPr/>
            <p:nvPr/>
          </p:nvSpPr>
          <p:spPr>
            <a:xfrm>
              <a:off x="3627123" y="944745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keholder Managemen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CC2FC8-E231-4BFE-8A7A-3B3F9EA4E04B}"/>
                </a:ext>
              </a:extLst>
            </p:cNvPr>
            <p:cNvSpPr/>
            <p:nvPr/>
          </p:nvSpPr>
          <p:spPr>
            <a:xfrm>
              <a:off x="3627123" y="1000017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Design Acceptance 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45DDE53-07A7-41CA-8B16-71DEFF0E3146}"/>
                </a:ext>
              </a:extLst>
            </p:cNvPr>
            <p:cNvSpPr/>
            <p:nvPr/>
          </p:nvSpPr>
          <p:spPr>
            <a:xfrm>
              <a:off x="3627123" y="1055290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Work in Place Manageme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2E6F66C-55E9-4829-9442-1B7C0AB67AA1}"/>
                </a:ext>
              </a:extLst>
            </p:cNvPr>
            <p:cNvSpPr/>
            <p:nvPr/>
          </p:nvSpPr>
          <p:spPr>
            <a:xfrm>
              <a:off x="3627122" y="1110562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Record Drawing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0F94D1F-F282-4F3C-A43C-E3A40389D114}"/>
                </a:ext>
              </a:extLst>
            </p:cNvPr>
            <p:cNvSpPr/>
            <p:nvPr/>
          </p:nvSpPr>
          <p:spPr>
            <a:xfrm>
              <a:off x="3627122" y="11658353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Airport Operation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49BBD68-0B50-4772-A6E5-613727B57093}"/>
                </a:ext>
              </a:extLst>
            </p:cNvPr>
            <p:cNvSpPr/>
            <p:nvPr/>
          </p:nvSpPr>
          <p:spPr>
            <a:xfrm>
              <a:off x="3627122" y="12211078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assenger Experienc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12B2BBF-7A18-422A-BB1A-29F39CE1563A}"/>
                </a:ext>
              </a:extLst>
            </p:cNvPr>
            <p:cNvSpPr/>
            <p:nvPr/>
          </p:nvSpPr>
          <p:spPr>
            <a:xfrm>
              <a:off x="3639824" y="12763803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unch List Proces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3586CF8-E617-4C73-B0B3-67DC91BAAB49}"/>
                </a:ext>
              </a:extLst>
            </p:cNvPr>
            <p:cNvSpPr/>
            <p:nvPr/>
          </p:nvSpPr>
          <p:spPr>
            <a:xfrm>
              <a:off x="3639824" y="13316528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Final Acceptance &amp; Close Ou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3387790-4449-41E7-BA6E-6FD9A49297DF}"/>
                </a:ext>
              </a:extLst>
            </p:cNvPr>
            <p:cNvSpPr/>
            <p:nvPr/>
          </p:nvSpPr>
          <p:spPr>
            <a:xfrm>
              <a:off x="8188960" y="201692"/>
              <a:ext cx="4927600" cy="48394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Planning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B324273-00E3-4C11-82D6-07D7C7A04B36}"/>
                </a:ext>
              </a:extLst>
            </p:cNvPr>
            <p:cNvSpPr/>
            <p:nvPr/>
          </p:nvSpPr>
          <p:spPr>
            <a:xfrm>
              <a:off x="13355319" y="201692"/>
              <a:ext cx="12662877" cy="48394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Delivery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032CA6-69E2-4DE5-AF86-B4BEC6CE5BA4}"/>
                </a:ext>
              </a:extLst>
            </p:cNvPr>
            <p:cNvSpPr/>
            <p:nvPr/>
          </p:nvSpPr>
          <p:spPr>
            <a:xfrm>
              <a:off x="8188958" y="753203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Needs Identificatio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6B79F56-7693-452F-A4B4-C325B5CAAD6F}"/>
                </a:ext>
              </a:extLst>
            </p:cNvPr>
            <p:cNvSpPr/>
            <p:nvPr/>
          </p:nvSpPr>
          <p:spPr>
            <a:xfrm>
              <a:off x="10767058" y="749106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Initiation</a:t>
              </a:r>
            </a:p>
            <a:p>
              <a:pPr algn="ctr"/>
              <a:r>
                <a:rPr lang="en-US">
                  <a:latin typeface="GT America Extended Black"/>
                </a:rPr>
                <a:t>Definition Scoping</a:t>
              </a:r>
            </a:p>
            <a:p>
              <a:pPr algn="ctr"/>
              <a:r>
                <a:rPr lang="en-US">
                  <a:latin typeface="GT America Extended Black"/>
                </a:rPr>
                <a:t>Prioritizatio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BF23BD1-5B40-4337-B475-289AD5DDDBC4}"/>
                </a:ext>
              </a:extLst>
            </p:cNvPr>
            <p:cNvSpPr/>
            <p:nvPr/>
          </p:nvSpPr>
          <p:spPr>
            <a:xfrm>
              <a:off x="10761444" y="1855171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e-stage I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DFD7CB5-D647-40C3-974D-297E66E9B95D}"/>
                </a:ext>
              </a:extLst>
            </p:cNvPr>
            <p:cNvSpPr/>
            <p:nvPr/>
          </p:nvSpPr>
          <p:spPr>
            <a:xfrm>
              <a:off x="13355317" y="749106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nceptual Desig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D60DD6A-63B0-449A-A162-761F5B2A9663}"/>
                </a:ext>
              </a:extLst>
            </p:cNvPr>
            <p:cNvSpPr/>
            <p:nvPr/>
          </p:nvSpPr>
          <p:spPr>
            <a:xfrm>
              <a:off x="13345157" y="1859471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890D444-7BC8-42A4-84D4-4A0B0FF33586}"/>
                </a:ext>
              </a:extLst>
            </p:cNvPr>
            <p:cNvSpPr/>
            <p:nvPr/>
          </p:nvSpPr>
          <p:spPr>
            <a:xfrm>
              <a:off x="15943576" y="749105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Design Build Solicitation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2B6A3C4-2544-4FF0-8582-40D542249AE5}"/>
                </a:ext>
              </a:extLst>
            </p:cNvPr>
            <p:cNvSpPr/>
            <p:nvPr/>
          </p:nvSpPr>
          <p:spPr>
            <a:xfrm>
              <a:off x="15943576" y="1858852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I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E7464B3-7088-445B-BC52-272BFFE23D49}"/>
                </a:ext>
              </a:extLst>
            </p:cNvPr>
            <p:cNvSpPr/>
            <p:nvPr/>
          </p:nvSpPr>
          <p:spPr>
            <a:xfrm>
              <a:off x="18521675" y="749104"/>
              <a:ext cx="4974491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Final Design and Construction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0FA7DD8-8A9F-4337-B410-252D4D84C040}"/>
                </a:ext>
              </a:extLst>
            </p:cNvPr>
            <p:cNvSpPr/>
            <p:nvPr/>
          </p:nvSpPr>
          <p:spPr>
            <a:xfrm>
              <a:off x="18521674" y="1859471"/>
              <a:ext cx="4974491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II - IV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432EFF4-8707-4572-9DE0-1A77C6200415}"/>
                </a:ext>
              </a:extLst>
            </p:cNvPr>
            <p:cNvSpPr/>
            <p:nvPr/>
          </p:nvSpPr>
          <p:spPr>
            <a:xfrm>
              <a:off x="23724766" y="749103"/>
              <a:ext cx="229343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loseou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B03D6AE-C082-40FA-82D9-3F62A56615FA}"/>
                </a:ext>
              </a:extLst>
            </p:cNvPr>
            <p:cNvSpPr/>
            <p:nvPr/>
          </p:nvSpPr>
          <p:spPr>
            <a:xfrm>
              <a:off x="23724766" y="1859471"/>
              <a:ext cx="229343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V</a:t>
              </a:r>
            </a:p>
          </p:txBody>
        </p:sp>
        <p:sp>
          <p:nvSpPr>
            <p:cNvPr id="44" name="Flowchart: Decision 43">
              <a:extLst>
                <a:ext uri="{FF2B5EF4-FFF2-40B4-BE49-F238E27FC236}">
                  <a16:creationId xmlns:a16="http://schemas.microsoft.com/office/drawing/2014/main" id="{E54F68F9-2B94-4135-B978-048F21A0332E}"/>
                </a:ext>
              </a:extLst>
            </p:cNvPr>
            <p:cNvSpPr/>
            <p:nvPr/>
          </p:nvSpPr>
          <p:spPr>
            <a:xfrm>
              <a:off x="12723933" y="1706033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1</a:t>
              </a:r>
            </a:p>
          </p:txBody>
        </p:sp>
        <p:sp>
          <p:nvSpPr>
            <p:cNvPr id="45" name="Flowchart: Decision 44">
              <a:extLst>
                <a:ext uri="{FF2B5EF4-FFF2-40B4-BE49-F238E27FC236}">
                  <a16:creationId xmlns:a16="http://schemas.microsoft.com/office/drawing/2014/main" id="{EEC63587-5BE6-42A5-BAA9-F2C4E01CABE9}"/>
                </a:ext>
              </a:extLst>
            </p:cNvPr>
            <p:cNvSpPr/>
            <p:nvPr/>
          </p:nvSpPr>
          <p:spPr>
            <a:xfrm>
              <a:off x="15316435" y="1665567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2</a:t>
              </a:r>
            </a:p>
          </p:txBody>
        </p:sp>
        <p:sp>
          <p:nvSpPr>
            <p:cNvPr id="46" name="Flowchart: Decision 45">
              <a:extLst>
                <a:ext uri="{FF2B5EF4-FFF2-40B4-BE49-F238E27FC236}">
                  <a16:creationId xmlns:a16="http://schemas.microsoft.com/office/drawing/2014/main" id="{5E2576D8-3668-44AA-AB10-21B7B7F828F2}"/>
                </a:ext>
              </a:extLst>
            </p:cNvPr>
            <p:cNvSpPr/>
            <p:nvPr/>
          </p:nvSpPr>
          <p:spPr>
            <a:xfrm>
              <a:off x="17905085" y="1706033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3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55065B6-7F56-4E77-8D94-7273589C4D7F}"/>
                </a:ext>
              </a:extLst>
            </p:cNvPr>
            <p:cNvSpPr/>
            <p:nvPr/>
          </p:nvSpPr>
          <p:spPr>
            <a:xfrm>
              <a:off x="8188958" y="2814753"/>
              <a:ext cx="2349500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593560A-42A9-45F2-9688-1FA0DBB76A4F}"/>
                </a:ext>
              </a:extLst>
            </p:cNvPr>
            <p:cNvSpPr/>
            <p:nvPr/>
          </p:nvSpPr>
          <p:spPr>
            <a:xfrm>
              <a:off x="10767060" y="2814753"/>
              <a:ext cx="2349500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7BD1077-BD71-4B8C-B1EE-D43E01ED1E00}"/>
                </a:ext>
              </a:extLst>
            </p:cNvPr>
            <p:cNvSpPr/>
            <p:nvPr/>
          </p:nvSpPr>
          <p:spPr>
            <a:xfrm>
              <a:off x="13430484" y="2814944"/>
              <a:ext cx="2349500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8A2A65C-E2A0-4F01-BC15-0AE62EFEC17B}"/>
                </a:ext>
              </a:extLst>
            </p:cNvPr>
            <p:cNvSpPr/>
            <p:nvPr/>
          </p:nvSpPr>
          <p:spPr>
            <a:xfrm>
              <a:off x="15943576" y="2814944"/>
              <a:ext cx="2349500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849A77B-E324-4CEA-BCAA-35FE9C447B9A}"/>
                </a:ext>
              </a:extLst>
            </p:cNvPr>
            <p:cNvSpPr/>
            <p:nvPr/>
          </p:nvSpPr>
          <p:spPr>
            <a:xfrm>
              <a:off x="18521674" y="2814753"/>
              <a:ext cx="4974491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4B96760-B4BA-4E56-849C-F9D5F57E49A1}"/>
                </a:ext>
              </a:extLst>
            </p:cNvPr>
            <p:cNvSpPr/>
            <p:nvPr/>
          </p:nvSpPr>
          <p:spPr>
            <a:xfrm>
              <a:off x="23724763" y="2814944"/>
              <a:ext cx="2293433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7580420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FF61B5A-3AF5-40F1-825E-CA760F9DC52A}"/>
              </a:ext>
            </a:extLst>
          </p:cNvPr>
          <p:cNvGrpSpPr/>
          <p:nvPr userDrawn="1"/>
        </p:nvGrpSpPr>
        <p:grpSpPr>
          <a:xfrm>
            <a:off x="3333412" y="190188"/>
            <a:ext cx="22684784" cy="13460467"/>
            <a:chOff x="3333412" y="201692"/>
            <a:chExt cx="22684784" cy="1346046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6FF1096-BB09-42D9-973C-A1DD97B6EC27}"/>
                </a:ext>
              </a:extLst>
            </p:cNvPr>
            <p:cNvSpPr/>
            <p:nvPr/>
          </p:nvSpPr>
          <p:spPr>
            <a:xfrm>
              <a:off x="3333412" y="4364135"/>
              <a:ext cx="4305979" cy="223986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A6D9481-15FD-49D1-9FA3-4E6998525339}"/>
                </a:ext>
              </a:extLst>
            </p:cNvPr>
            <p:cNvSpPr/>
            <p:nvPr/>
          </p:nvSpPr>
          <p:spPr>
            <a:xfrm>
              <a:off x="3652526" y="2814753"/>
              <a:ext cx="3718560" cy="3454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latin typeface="GT America Extended Black"/>
                </a:rPr>
                <a:t>Procuremen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F2ADBDB-E4DA-48D2-B06F-DB6D71CEDB21}"/>
                </a:ext>
              </a:extLst>
            </p:cNvPr>
            <p:cNvSpPr/>
            <p:nvPr/>
          </p:nvSpPr>
          <p:spPr>
            <a:xfrm>
              <a:off x="3652526" y="3367478"/>
              <a:ext cx="3718560" cy="3454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ntract Administration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27CA738-E6BC-474F-A1C6-819810897943}"/>
                </a:ext>
              </a:extLst>
            </p:cNvPr>
            <p:cNvSpPr/>
            <p:nvPr/>
          </p:nvSpPr>
          <p:spPr>
            <a:xfrm>
              <a:off x="3652526" y="392020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Organization of the Work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89AFC5-6B02-490C-AB4B-C0943D286045}"/>
                </a:ext>
              </a:extLst>
            </p:cNvPr>
            <p:cNvSpPr/>
            <p:nvPr/>
          </p:nvSpPr>
          <p:spPr>
            <a:xfrm>
              <a:off x="3639826" y="447292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Baseline Approval &amp; Change Control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F10C07D-688C-4B56-BC73-A5BAE01205BA}"/>
                </a:ext>
              </a:extLst>
            </p:cNvPr>
            <p:cNvSpPr/>
            <p:nvPr/>
          </p:nvSpPr>
          <p:spPr>
            <a:xfrm>
              <a:off x="3639824" y="502565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cope Managemen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ADFE114-E9C3-4987-8284-460B35F564B6}"/>
                </a:ext>
              </a:extLst>
            </p:cNvPr>
            <p:cNvSpPr/>
            <p:nvPr/>
          </p:nvSpPr>
          <p:spPr>
            <a:xfrm>
              <a:off x="3639824" y="557837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chedul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5ADE804-F1A5-4014-B5EE-9CBCFF41CE8E}"/>
                </a:ext>
              </a:extLst>
            </p:cNvPr>
            <p:cNvSpPr/>
            <p:nvPr/>
          </p:nvSpPr>
          <p:spPr>
            <a:xfrm>
              <a:off x="3652526" y="613110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s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CA9E9EE-5446-4336-8993-B42BB11974D5}"/>
                </a:ext>
              </a:extLst>
            </p:cNvPr>
            <p:cNvSpPr/>
            <p:nvPr/>
          </p:nvSpPr>
          <p:spPr>
            <a:xfrm>
              <a:off x="3639825" y="668382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Risk &amp; Opportunity Management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73642FC-08E4-456C-A0C2-B85067BC267C}"/>
                </a:ext>
              </a:extLst>
            </p:cNvPr>
            <p:cNvSpPr/>
            <p:nvPr/>
          </p:nvSpPr>
          <p:spPr>
            <a:xfrm>
              <a:off x="3627123" y="7236553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Information Manag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CD6ABB0-7177-4FDE-9628-6CF83EC856BC}"/>
                </a:ext>
              </a:extLst>
            </p:cNvPr>
            <p:cNvSpPr/>
            <p:nvPr/>
          </p:nvSpPr>
          <p:spPr>
            <a:xfrm>
              <a:off x="3627123" y="7789278"/>
              <a:ext cx="3718560" cy="345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erformance &amp; Reporting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6D840E4-0EAF-48A8-A41C-6AC848A00E75}"/>
                </a:ext>
              </a:extLst>
            </p:cNvPr>
            <p:cNvSpPr/>
            <p:nvPr/>
          </p:nvSpPr>
          <p:spPr>
            <a:xfrm>
              <a:off x="3627123" y="834200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Quality, Inspection &amp; Testing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9F2A94E-C6AF-4D8F-84D4-90098BA185D6}"/>
                </a:ext>
              </a:extLst>
            </p:cNvPr>
            <p:cNvSpPr/>
            <p:nvPr/>
          </p:nvSpPr>
          <p:spPr>
            <a:xfrm>
              <a:off x="3627123" y="889472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afety, Health &amp; Environment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91E22B-F1F3-49F6-8EB1-E662C45DDABC}"/>
                </a:ext>
              </a:extLst>
            </p:cNvPr>
            <p:cNvSpPr/>
            <p:nvPr/>
          </p:nvSpPr>
          <p:spPr>
            <a:xfrm>
              <a:off x="3627123" y="944745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keholder Managemen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ACC2FC8-E231-4BFE-8A7A-3B3F9EA4E04B}"/>
                </a:ext>
              </a:extLst>
            </p:cNvPr>
            <p:cNvSpPr/>
            <p:nvPr/>
          </p:nvSpPr>
          <p:spPr>
            <a:xfrm>
              <a:off x="3627123" y="1000017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Design Acceptance 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45DDE53-07A7-41CA-8B16-71DEFF0E3146}"/>
                </a:ext>
              </a:extLst>
            </p:cNvPr>
            <p:cNvSpPr/>
            <p:nvPr/>
          </p:nvSpPr>
          <p:spPr>
            <a:xfrm>
              <a:off x="3627123" y="10552903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Work in Place Manageme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2E6F66C-55E9-4829-9442-1B7C0AB67AA1}"/>
                </a:ext>
              </a:extLst>
            </p:cNvPr>
            <p:cNvSpPr/>
            <p:nvPr/>
          </p:nvSpPr>
          <p:spPr>
            <a:xfrm>
              <a:off x="3627122" y="11105628"/>
              <a:ext cx="3718560" cy="34544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Record Drawing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0F94D1F-F282-4F3C-A43C-E3A40389D114}"/>
                </a:ext>
              </a:extLst>
            </p:cNvPr>
            <p:cNvSpPr/>
            <p:nvPr/>
          </p:nvSpPr>
          <p:spPr>
            <a:xfrm>
              <a:off x="3627122" y="11658353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Airport Operation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49BBD68-0B50-4772-A6E5-613727B57093}"/>
                </a:ext>
              </a:extLst>
            </p:cNvPr>
            <p:cNvSpPr/>
            <p:nvPr/>
          </p:nvSpPr>
          <p:spPr>
            <a:xfrm>
              <a:off x="3627122" y="12211078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assenger Experienc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12B2BBF-7A18-422A-BB1A-29F39CE1563A}"/>
                </a:ext>
              </a:extLst>
            </p:cNvPr>
            <p:cNvSpPr/>
            <p:nvPr/>
          </p:nvSpPr>
          <p:spPr>
            <a:xfrm>
              <a:off x="3639824" y="12763803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unch List Proces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3586CF8-E617-4C73-B0B3-67DC91BAAB49}"/>
                </a:ext>
              </a:extLst>
            </p:cNvPr>
            <p:cNvSpPr/>
            <p:nvPr/>
          </p:nvSpPr>
          <p:spPr>
            <a:xfrm>
              <a:off x="3639824" y="13316528"/>
              <a:ext cx="3718560" cy="345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Final Acceptance &amp; Close Ou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3387790-4449-41E7-BA6E-6FD9A49297DF}"/>
                </a:ext>
              </a:extLst>
            </p:cNvPr>
            <p:cNvSpPr/>
            <p:nvPr/>
          </p:nvSpPr>
          <p:spPr>
            <a:xfrm>
              <a:off x="8188960" y="201692"/>
              <a:ext cx="4927600" cy="48394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Planning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B324273-00E3-4C11-82D6-07D7C7A04B36}"/>
                </a:ext>
              </a:extLst>
            </p:cNvPr>
            <p:cNvSpPr/>
            <p:nvPr/>
          </p:nvSpPr>
          <p:spPr>
            <a:xfrm>
              <a:off x="13355319" y="201692"/>
              <a:ext cx="12662877" cy="48394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Delivery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032CA6-69E2-4DE5-AF86-B4BEC6CE5BA4}"/>
                </a:ext>
              </a:extLst>
            </p:cNvPr>
            <p:cNvSpPr/>
            <p:nvPr/>
          </p:nvSpPr>
          <p:spPr>
            <a:xfrm>
              <a:off x="8188958" y="753203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Needs Identificatio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6B79F56-7693-452F-A4B4-C325B5CAAD6F}"/>
                </a:ext>
              </a:extLst>
            </p:cNvPr>
            <p:cNvSpPr/>
            <p:nvPr/>
          </p:nvSpPr>
          <p:spPr>
            <a:xfrm>
              <a:off x="10767058" y="749106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oject Initiation</a:t>
              </a:r>
            </a:p>
            <a:p>
              <a:pPr algn="ctr"/>
              <a:r>
                <a:rPr lang="en-US">
                  <a:latin typeface="GT America Extended Black"/>
                </a:rPr>
                <a:t>Definition Scoping</a:t>
              </a:r>
            </a:p>
            <a:p>
              <a:pPr algn="ctr"/>
              <a:r>
                <a:rPr lang="en-US">
                  <a:latin typeface="GT America Extended Black"/>
                </a:rPr>
                <a:t>Prioritization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BF23BD1-5B40-4337-B475-289AD5DDDBC4}"/>
                </a:ext>
              </a:extLst>
            </p:cNvPr>
            <p:cNvSpPr/>
            <p:nvPr/>
          </p:nvSpPr>
          <p:spPr>
            <a:xfrm>
              <a:off x="10761444" y="1855171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Pre-stage I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DFD7CB5-D647-40C3-974D-297E66E9B95D}"/>
                </a:ext>
              </a:extLst>
            </p:cNvPr>
            <p:cNvSpPr/>
            <p:nvPr/>
          </p:nvSpPr>
          <p:spPr>
            <a:xfrm>
              <a:off x="13355317" y="749106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onceptual Desig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D60DD6A-63B0-449A-A162-761F5B2A9663}"/>
                </a:ext>
              </a:extLst>
            </p:cNvPr>
            <p:cNvSpPr/>
            <p:nvPr/>
          </p:nvSpPr>
          <p:spPr>
            <a:xfrm>
              <a:off x="13345157" y="1859471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890D444-7BC8-42A4-84D4-4A0B0FF33586}"/>
                </a:ext>
              </a:extLst>
            </p:cNvPr>
            <p:cNvSpPr/>
            <p:nvPr/>
          </p:nvSpPr>
          <p:spPr>
            <a:xfrm>
              <a:off x="15943576" y="749105"/>
              <a:ext cx="234950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Design Build Solicitation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2B6A3C4-2544-4FF0-8582-40D542249AE5}"/>
                </a:ext>
              </a:extLst>
            </p:cNvPr>
            <p:cNvSpPr/>
            <p:nvPr/>
          </p:nvSpPr>
          <p:spPr>
            <a:xfrm>
              <a:off x="15943576" y="1858852"/>
              <a:ext cx="234950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I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E7464B3-7088-445B-BC52-272BFFE23D49}"/>
                </a:ext>
              </a:extLst>
            </p:cNvPr>
            <p:cNvSpPr/>
            <p:nvPr/>
          </p:nvSpPr>
          <p:spPr>
            <a:xfrm>
              <a:off x="18521675" y="749104"/>
              <a:ext cx="4974491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Final Design and Construction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0FA7DD8-8A9F-4337-B410-252D4D84C040}"/>
                </a:ext>
              </a:extLst>
            </p:cNvPr>
            <p:cNvSpPr/>
            <p:nvPr/>
          </p:nvSpPr>
          <p:spPr>
            <a:xfrm>
              <a:off x="18521674" y="1859471"/>
              <a:ext cx="4974491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III - IV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432EFF4-8707-4572-9DE0-1A77C6200415}"/>
                </a:ext>
              </a:extLst>
            </p:cNvPr>
            <p:cNvSpPr/>
            <p:nvPr/>
          </p:nvSpPr>
          <p:spPr>
            <a:xfrm>
              <a:off x="23724766" y="749103"/>
              <a:ext cx="2293430" cy="104690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Closeou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B03D6AE-C082-40FA-82D9-3F62A56615FA}"/>
                </a:ext>
              </a:extLst>
            </p:cNvPr>
            <p:cNvSpPr/>
            <p:nvPr/>
          </p:nvSpPr>
          <p:spPr>
            <a:xfrm>
              <a:off x="23724766" y="1859471"/>
              <a:ext cx="2293430" cy="349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latin typeface="GT America Extended Black"/>
                </a:rPr>
                <a:t>Stage V</a:t>
              </a:r>
            </a:p>
          </p:txBody>
        </p:sp>
        <p:sp>
          <p:nvSpPr>
            <p:cNvPr id="44" name="Flowchart: Decision 43">
              <a:extLst>
                <a:ext uri="{FF2B5EF4-FFF2-40B4-BE49-F238E27FC236}">
                  <a16:creationId xmlns:a16="http://schemas.microsoft.com/office/drawing/2014/main" id="{E54F68F9-2B94-4135-B978-048F21A0332E}"/>
                </a:ext>
              </a:extLst>
            </p:cNvPr>
            <p:cNvSpPr/>
            <p:nvPr/>
          </p:nvSpPr>
          <p:spPr>
            <a:xfrm>
              <a:off x="12723933" y="1706033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1</a:t>
              </a:r>
            </a:p>
          </p:txBody>
        </p:sp>
        <p:sp>
          <p:nvSpPr>
            <p:cNvPr id="45" name="Flowchart: Decision 44">
              <a:extLst>
                <a:ext uri="{FF2B5EF4-FFF2-40B4-BE49-F238E27FC236}">
                  <a16:creationId xmlns:a16="http://schemas.microsoft.com/office/drawing/2014/main" id="{EEC63587-5BE6-42A5-BAA9-F2C4E01CABE9}"/>
                </a:ext>
              </a:extLst>
            </p:cNvPr>
            <p:cNvSpPr/>
            <p:nvPr/>
          </p:nvSpPr>
          <p:spPr>
            <a:xfrm>
              <a:off x="15316435" y="1665567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2</a:t>
              </a:r>
            </a:p>
          </p:txBody>
        </p:sp>
        <p:sp>
          <p:nvSpPr>
            <p:cNvPr id="46" name="Flowchart: Decision 45">
              <a:extLst>
                <a:ext uri="{FF2B5EF4-FFF2-40B4-BE49-F238E27FC236}">
                  <a16:creationId xmlns:a16="http://schemas.microsoft.com/office/drawing/2014/main" id="{5E2576D8-3668-44AA-AB10-21B7B7F828F2}"/>
                </a:ext>
              </a:extLst>
            </p:cNvPr>
            <p:cNvSpPr/>
            <p:nvPr/>
          </p:nvSpPr>
          <p:spPr>
            <a:xfrm>
              <a:off x="17905085" y="1706033"/>
              <a:ext cx="1005840" cy="1005840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  <a:latin typeface="GT America Extended Black"/>
                </a:rPr>
                <a:t>Gate 3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55065B6-7F56-4E77-8D94-7273589C4D7F}"/>
                </a:ext>
              </a:extLst>
            </p:cNvPr>
            <p:cNvSpPr/>
            <p:nvPr/>
          </p:nvSpPr>
          <p:spPr>
            <a:xfrm>
              <a:off x="8188958" y="2814753"/>
              <a:ext cx="2349500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593560A-42A9-45F2-9688-1FA0DBB76A4F}"/>
                </a:ext>
              </a:extLst>
            </p:cNvPr>
            <p:cNvSpPr/>
            <p:nvPr/>
          </p:nvSpPr>
          <p:spPr>
            <a:xfrm>
              <a:off x="10767060" y="2814753"/>
              <a:ext cx="2349500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7BD1077-BD71-4B8C-B1EE-D43E01ED1E00}"/>
                </a:ext>
              </a:extLst>
            </p:cNvPr>
            <p:cNvSpPr/>
            <p:nvPr/>
          </p:nvSpPr>
          <p:spPr>
            <a:xfrm>
              <a:off x="13430484" y="2814944"/>
              <a:ext cx="2349500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8A2A65C-E2A0-4F01-BC15-0AE62EFEC17B}"/>
                </a:ext>
              </a:extLst>
            </p:cNvPr>
            <p:cNvSpPr/>
            <p:nvPr/>
          </p:nvSpPr>
          <p:spPr>
            <a:xfrm>
              <a:off x="15943576" y="2814944"/>
              <a:ext cx="2349500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849A77B-E324-4CEA-BCAA-35FE9C447B9A}"/>
                </a:ext>
              </a:extLst>
            </p:cNvPr>
            <p:cNvSpPr/>
            <p:nvPr/>
          </p:nvSpPr>
          <p:spPr>
            <a:xfrm>
              <a:off x="18521674" y="2814753"/>
              <a:ext cx="4974491" cy="10847215"/>
            </a:xfrm>
            <a:prstGeom prst="rect">
              <a:avLst/>
            </a:prstGeom>
            <a:solidFill>
              <a:schemeClr val="tx2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4B96760-B4BA-4E56-849C-F9D5F57E49A1}"/>
                </a:ext>
              </a:extLst>
            </p:cNvPr>
            <p:cNvSpPr/>
            <p:nvPr/>
          </p:nvSpPr>
          <p:spPr>
            <a:xfrm>
              <a:off x="23724763" y="2814944"/>
              <a:ext cx="2293433" cy="10847215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3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T America Extended Blac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0945616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4184C70-DDEA-C245-B52C-8E4452B0C830}"/>
              </a:ext>
            </a:extLst>
          </p:cNvPr>
          <p:cNvSpPr/>
          <p:nvPr userDrawn="1"/>
        </p:nvSpPr>
        <p:spPr>
          <a:xfrm>
            <a:off x="0" y="13977091"/>
            <a:ext cx="31089600" cy="1531198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7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AD48D9-0056-7C48-BE8A-EBBB5C8DE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14311" y="14548028"/>
            <a:ext cx="2538510" cy="4125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714" b="0" i="0">
                <a:solidFill>
                  <a:schemeClr val="bg1"/>
                </a:solidFill>
                <a:latin typeface="GT America Medium" pitchFamily="2" charset="77"/>
                <a:cs typeface="Arial" panose="020B0604020202020204" pitchFamily="34" charset="0"/>
              </a:defRPr>
            </a:lvl1pPr>
          </a:lstStyle>
          <a:p>
            <a:fld id="{88AD9D0C-F017-054E-A9DE-A26AC932BFF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3F323B-54AF-124C-B0BC-1EA91C595B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18" y="14172616"/>
            <a:ext cx="2791972" cy="118232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403075-A8D2-48B9-83A1-909140D49C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22349" y="1075241"/>
            <a:ext cx="28260446" cy="1447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176" b="1">
                <a:solidFill>
                  <a:srgbClr val="022DB7"/>
                </a:solidFill>
                <a:latin typeface="GT America Extended Black"/>
              </a:defRPr>
            </a:lvl1pPr>
          </a:lstStyle>
          <a:p>
            <a:pPr lvl="0"/>
            <a:r>
              <a:rPr lang="en-US"/>
              <a:t>Slid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561DEE-5B63-4CB6-A884-5AAC7165366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22349" y="4797231"/>
            <a:ext cx="13314121" cy="531735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646166" indent="-646166">
              <a:lnSpc>
                <a:spcPct val="100000"/>
              </a:lnSpc>
              <a:spcBef>
                <a:spcPts val="4749"/>
              </a:spcBef>
              <a:buFont typeface="Arial" panose="020B0604020202020204" pitchFamily="34" charset="0"/>
              <a:buChar char="•"/>
              <a:defRPr sz="4070" b="0" i="0">
                <a:solidFill>
                  <a:schemeClr val="tx1"/>
                </a:solidFill>
                <a:latin typeface="GT America Light"/>
                <a:cs typeface="GT America Light"/>
              </a:defRPr>
            </a:lvl1pPr>
            <a:lvl2pPr>
              <a:spcBef>
                <a:spcPts val="4749"/>
              </a:spcBef>
              <a:defRPr sz="4070">
                <a:latin typeface="GT America Light"/>
                <a:cs typeface="GT America Light"/>
              </a:defRPr>
            </a:lvl2pPr>
            <a:lvl3pPr>
              <a:spcBef>
                <a:spcPts val="4749"/>
              </a:spcBef>
              <a:defRPr sz="4070">
                <a:latin typeface="GT America Light"/>
                <a:cs typeface="GT America Light"/>
              </a:defRPr>
            </a:lvl3pPr>
            <a:lvl4pPr>
              <a:spcBef>
                <a:spcPts val="4749"/>
              </a:spcBef>
              <a:defRPr sz="4070">
                <a:latin typeface="GT America Light"/>
                <a:cs typeface="GT America Light"/>
              </a:defRPr>
            </a:lvl4pPr>
            <a:lvl5pPr>
              <a:spcBef>
                <a:spcPts val="4749"/>
              </a:spcBef>
              <a:defRPr sz="4070">
                <a:latin typeface="GT America Light"/>
                <a:cs typeface="GT America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AFB4C8-BAFF-B34A-8064-CC15230A94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252089" y="4797232"/>
            <a:ext cx="13314121" cy="556790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4749"/>
              </a:spcBef>
              <a:defRPr sz="4070" b="0" i="0">
                <a:latin typeface="GT America Light"/>
                <a:cs typeface="GT America Light"/>
              </a:defRPr>
            </a:lvl1pPr>
            <a:lvl2pPr>
              <a:lnSpc>
                <a:spcPct val="100000"/>
              </a:lnSpc>
              <a:spcBef>
                <a:spcPts val="4749"/>
              </a:spcBef>
              <a:defRPr sz="4070" b="0" i="0">
                <a:latin typeface="GT America Light"/>
                <a:cs typeface="GT America Light"/>
              </a:defRPr>
            </a:lvl2pPr>
            <a:lvl3pPr>
              <a:lnSpc>
                <a:spcPct val="100000"/>
              </a:lnSpc>
              <a:spcBef>
                <a:spcPts val="4749"/>
              </a:spcBef>
              <a:defRPr sz="4070" b="0" i="0">
                <a:latin typeface="GT America Light"/>
                <a:cs typeface="GT America Light"/>
              </a:defRPr>
            </a:lvl3pPr>
            <a:lvl4pPr>
              <a:lnSpc>
                <a:spcPct val="100000"/>
              </a:lnSpc>
              <a:spcBef>
                <a:spcPts val="4749"/>
              </a:spcBef>
              <a:defRPr sz="4070" b="0" i="0">
                <a:latin typeface="GT America Light"/>
                <a:cs typeface="GT America Light"/>
              </a:defRPr>
            </a:lvl4pPr>
            <a:lvl5pPr>
              <a:lnSpc>
                <a:spcPct val="100000"/>
              </a:lnSpc>
              <a:spcBef>
                <a:spcPts val="4749"/>
              </a:spcBef>
              <a:defRPr sz="4070" b="0" i="0">
                <a:latin typeface="GT America Light"/>
                <a:cs typeface="GT America 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399032" y="2605392"/>
            <a:ext cx="28260446" cy="8891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4523" b="0" i="0">
                <a:solidFill>
                  <a:srgbClr val="022DB7"/>
                </a:solidFill>
                <a:latin typeface="GT America Light"/>
                <a:cs typeface="GT America Ligh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4831856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039193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1 Standard (3x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8595847-1813-6B47-B848-F94A612FF95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97898" y="3277553"/>
            <a:ext cx="9274256" cy="10827094"/>
          </a:xfrm>
        </p:spPr>
        <p:txBody>
          <a:bodyPr/>
          <a:lstStyle>
            <a:lvl1pPr marL="0" indent="0">
              <a:buFont typeface="System Font"/>
              <a:buNone/>
              <a:tabLst/>
              <a:defRPr sz="3618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17448" indent="-617448">
              <a:tabLst/>
              <a:defRPr sz="3618" b="0" i="0"/>
            </a:lvl2pPr>
            <a:lvl3pPr marL="1216948" indent="-599500">
              <a:tabLst/>
              <a:defRPr sz="3618" b="0" i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08447B-7EA7-4E4E-87A8-2F30E16C61DE}"/>
              </a:ext>
            </a:extLst>
          </p:cNvPr>
          <p:cNvCxnSpPr>
            <a:cxnSpLocks/>
          </p:cNvCxnSpPr>
          <p:nvPr userDrawn="1"/>
        </p:nvCxnSpPr>
        <p:spPr>
          <a:xfrm>
            <a:off x="671989" y="588741"/>
            <a:ext cx="11016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881F7B9-4F04-D646-B586-BDACAB966C1F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0859097" y="3277553"/>
            <a:ext cx="9369386" cy="10827094"/>
          </a:xfrm>
        </p:spPr>
        <p:txBody>
          <a:bodyPr/>
          <a:lstStyle>
            <a:lvl1pPr marL="0" indent="0">
              <a:buFont typeface="System Font"/>
              <a:buNone/>
              <a:tabLst/>
              <a:defRPr sz="3618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17448" indent="-617448">
              <a:tabLst/>
              <a:defRPr sz="3618" b="0" i="0">
                <a:solidFill>
                  <a:schemeClr val="tx1"/>
                </a:solidFill>
              </a:defRPr>
            </a:lvl2pPr>
            <a:lvl3pPr marL="1216948" indent="-599500">
              <a:tabLst/>
              <a:defRPr sz="3618" b="0" i="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95C6E5A-81D8-CC40-AB7F-D6D94788F812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21165220" y="3277553"/>
            <a:ext cx="9274256" cy="10827094"/>
          </a:xfrm>
        </p:spPr>
        <p:txBody>
          <a:bodyPr/>
          <a:lstStyle>
            <a:lvl1pPr marL="0" indent="0">
              <a:buFont typeface="System Font"/>
              <a:buNone/>
              <a:tabLst/>
              <a:defRPr sz="3618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17448" indent="-617448">
              <a:tabLst/>
              <a:defRPr sz="3618" b="0" i="0"/>
            </a:lvl2pPr>
            <a:lvl3pPr marL="1216948" indent="-599500">
              <a:tabLst/>
              <a:defRPr sz="3618" b="0" i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42548E9-9CB2-CB47-8ADA-FFCB6AC20F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989" y="997989"/>
            <a:ext cx="29737529" cy="1464667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5653" b="1" i="0" kern="1200" dirty="0">
                <a:solidFill>
                  <a:schemeClr val="tx1"/>
                </a:solidFill>
                <a:latin typeface="Arial" panose="020B0604020202020204" pitchFamily="34" charset="0"/>
                <a:ea typeface="AECOM Sans Light" panose="020B04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l" defTabSz="2067733" rtl="0" eaLnBrk="1" latinLnBrk="0" hangingPunct="1">
              <a:lnSpc>
                <a:spcPct val="90000"/>
              </a:lnSpc>
              <a:spcBef>
                <a:spcPts val="2261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1DE30E-E4DB-254B-9FC5-1D3E9C13D650}"/>
              </a:ext>
            </a:extLst>
          </p:cNvPr>
          <p:cNvGrpSpPr/>
          <p:nvPr userDrawn="1"/>
        </p:nvGrpSpPr>
        <p:grpSpPr>
          <a:xfrm>
            <a:off x="27575830" y="14559997"/>
            <a:ext cx="2833688" cy="509763"/>
            <a:chOff x="292100" y="6413250"/>
            <a:chExt cx="1111250" cy="225425"/>
          </a:xfrm>
        </p:grpSpPr>
        <p:sp>
          <p:nvSpPr>
            <p:cNvPr id="20" name="Freeform: Shape 12">
              <a:extLst>
                <a:ext uri="{FF2B5EF4-FFF2-40B4-BE49-F238E27FC236}">
                  <a16:creationId xmlns:a16="http://schemas.microsoft.com/office/drawing/2014/main" id="{01D68A93-2A87-E047-A5B4-20B33CDE80FD}"/>
                </a:ext>
              </a:extLst>
            </p:cNvPr>
            <p:cNvSpPr/>
            <p:nvPr userDrawn="1"/>
          </p:nvSpPr>
          <p:spPr>
            <a:xfrm>
              <a:off x="292100" y="6413250"/>
              <a:ext cx="225425" cy="225425"/>
            </a:xfrm>
            <a:custGeom>
              <a:avLst/>
              <a:gdLst>
                <a:gd name="connsiteX0" fmla="*/ 329565 w 342900"/>
                <a:gd name="connsiteY0" fmla="*/ 104775 h 342900"/>
                <a:gd name="connsiteX1" fmla="*/ 292418 w 342900"/>
                <a:gd name="connsiteY1" fmla="*/ 50483 h 342900"/>
                <a:gd name="connsiteX2" fmla="*/ 238125 w 342900"/>
                <a:gd name="connsiteY2" fmla="*/ 13335 h 342900"/>
                <a:gd name="connsiteX3" fmla="*/ 171450 w 342900"/>
                <a:gd name="connsiteY3" fmla="*/ 0 h 342900"/>
                <a:gd name="connsiteX4" fmla="*/ 104775 w 342900"/>
                <a:gd name="connsiteY4" fmla="*/ 13335 h 342900"/>
                <a:gd name="connsiteX5" fmla="*/ 50483 w 342900"/>
                <a:gd name="connsiteY5" fmla="*/ 50483 h 342900"/>
                <a:gd name="connsiteX6" fmla="*/ 13335 w 342900"/>
                <a:gd name="connsiteY6" fmla="*/ 104775 h 342900"/>
                <a:gd name="connsiteX7" fmla="*/ 0 w 342900"/>
                <a:gd name="connsiteY7" fmla="*/ 171450 h 342900"/>
                <a:gd name="connsiteX8" fmla="*/ 13335 w 342900"/>
                <a:gd name="connsiteY8" fmla="*/ 238125 h 342900"/>
                <a:gd name="connsiteX9" fmla="*/ 50483 w 342900"/>
                <a:gd name="connsiteY9" fmla="*/ 292418 h 342900"/>
                <a:gd name="connsiteX10" fmla="*/ 104775 w 342900"/>
                <a:gd name="connsiteY10" fmla="*/ 329565 h 342900"/>
                <a:gd name="connsiteX11" fmla="*/ 171450 w 342900"/>
                <a:gd name="connsiteY11" fmla="*/ 342900 h 342900"/>
                <a:gd name="connsiteX12" fmla="*/ 171450 w 342900"/>
                <a:gd name="connsiteY12" fmla="*/ 308610 h 342900"/>
                <a:gd name="connsiteX13" fmla="*/ 74295 w 342900"/>
                <a:gd name="connsiteY13" fmla="*/ 268605 h 342900"/>
                <a:gd name="connsiteX14" fmla="*/ 35243 w 342900"/>
                <a:gd name="connsiteY14" fmla="*/ 188595 h 342900"/>
                <a:gd name="connsiteX15" fmla="*/ 180975 w 342900"/>
                <a:gd name="connsiteY15" fmla="*/ 188595 h 342900"/>
                <a:gd name="connsiteX16" fmla="*/ 141923 w 342900"/>
                <a:gd name="connsiteY16" fmla="*/ 227648 h 342900"/>
                <a:gd name="connsiteX17" fmla="*/ 165735 w 342900"/>
                <a:gd name="connsiteY17" fmla="*/ 251460 h 342900"/>
                <a:gd name="connsiteX18" fmla="*/ 246698 w 342900"/>
                <a:gd name="connsiteY18" fmla="*/ 170498 h 342900"/>
                <a:gd name="connsiteX19" fmla="*/ 165735 w 342900"/>
                <a:gd name="connsiteY19" fmla="*/ 89535 h 342900"/>
                <a:gd name="connsiteX20" fmla="*/ 141923 w 342900"/>
                <a:gd name="connsiteY20" fmla="*/ 113348 h 342900"/>
                <a:gd name="connsiteX21" fmla="*/ 180975 w 342900"/>
                <a:gd name="connsiteY21" fmla="*/ 152400 h 342900"/>
                <a:gd name="connsiteX22" fmla="*/ 35243 w 342900"/>
                <a:gd name="connsiteY22" fmla="*/ 152400 h 342900"/>
                <a:gd name="connsiteX23" fmla="*/ 74295 w 342900"/>
                <a:gd name="connsiteY23" fmla="*/ 72390 h 342900"/>
                <a:gd name="connsiteX24" fmla="*/ 171450 w 342900"/>
                <a:gd name="connsiteY24" fmla="*/ 32385 h 342900"/>
                <a:gd name="connsiteX25" fmla="*/ 268605 w 342900"/>
                <a:gd name="connsiteY25" fmla="*/ 72390 h 342900"/>
                <a:gd name="connsiteX26" fmla="*/ 308610 w 342900"/>
                <a:gd name="connsiteY26" fmla="*/ 169545 h 342900"/>
                <a:gd name="connsiteX27" fmla="*/ 342900 w 342900"/>
                <a:gd name="connsiteY27" fmla="*/ 169545 h 342900"/>
                <a:gd name="connsiteX28" fmla="*/ 329565 w 342900"/>
                <a:gd name="connsiteY28" fmla="*/ 104775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900" h="342900">
                  <a:moveTo>
                    <a:pt x="329565" y="104775"/>
                  </a:moveTo>
                  <a:cubicBezTo>
                    <a:pt x="320993" y="84773"/>
                    <a:pt x="308610" y="65723"/>
                    <a:pt x="292418" y="50483"/>
                  </a:cubicBezTo>
                  <a:cubicBezTo>
                    <a:pt x="276225" y="34290"/>
                    <a:pt x="258128" y="21908"/>
                    <a:pt x="238125" y="13335"/>
                  </a:cubicBezTo>
                  <a:cubicBezTo>
                    <a:pt x="217170" y="4763"/>
                    <a:pt x="194310" y="0"/>
                    <a:pt x="171450" y="0"/>
                  </a:cubicBezTo>
                  <a:cubicBezTo>
                    <a:pt x="148590" y="0"/>
                    <a:pt x="125730" y="4763"/>
                    <a:pt x="104775" y="13335"/>
                  </a:cubicBezTo>
                  <a:cubicBezTo>
                    <a:pt x="83820" y="21908"/>
                    <a:pt x="65723" y="34290"/>
                    <a:pt x="50483" y="50483"/>
                  </a:cubicBezTo>
                  <a:cubicBezTo>
                    <a:pt x="34290" y="66675"/>
                    <a:pt x="21908" y="84773"/>
                    <a:pt x="13335" y="104775"/>
                  </a:cubicBezTo>
                  <a:cubicBezTo>
                    <a:pt x="4763" y="125730"/>
                    <a:pt x="0" y="148590"/>
                    <a:pt x="0" y="171450"/>
                  </a:cubicBezTo>
                  <a:cubicBezTo>
                    <a:pt x="0" y="194310"/>
                    <a:pt x="4763" y="217170"/>
                    <a:pt x="13335" y="238125"/>
                  </a:cubicBezTo>
                  <a:cubicBezTo>
                    <a:pt x="21908" y="258128"/>
                    <a:pt x="34290" y="277178"/>
                    <a:pt x="50483" y="292418"/>
                  </a:cubicBezTo>
                  <a:cubicBezTo>
                    <a:pt x="66675" y="308610"/>
                    <a:pt x="84773" y="320993"/>
                    <a:pt x="104775" y="329565"/>
                  </a:cubicBezTo>
                  <a:cubicBezTo>
                    <a:pt x="125730" y="338138"/>
                    <a:pt x="148590" y="342900"/>
                    <a:pt x="171450" y="342900"/>
                  </a:cubicBezTo>
                  <a:lnTo>
                    <a:pt x="171450" y="308610"/>
                  </a:lnTo>
                  <a:cubicBezTo>
                    <a:pt x="135255" y="308610"/>
                    <a:pt x="100013" y="294323"/>
                    <a:pt x="74295" y="268605"/>
                  </a:cubicBezTo>
                  <a:cubicBezTo>
                    <a:pt x="52388" y="246698"/>
                    <a:pt x="39053" y="219075"/>
                    <a:pt x="35243" y="188595"/>
                  </a:cubicBezTo>
                  <a:lnTo>
                    <a:pt x="180975" y="188595"/>
                  </a:lnTo>
                  <a:lnTo>
                    <a:pt x="141923" y="227648"/>
                  </a:lnTo>
                  <a:lnTo>
                    <a:pt x="165735" y="251460"/>
                  </a:lnTo>
                  <a:lnTo>
                    <a:pt x="246698" y="170498"/>
                  </a:lnTo>
                  <a:lnTo>
                    <a:pt x="165735" y="89535"/>
                  </a:lnTo>
                  <a:lnTo>
                    <a:pt x="141923" y="113348"/>
                  </a:lnTo>
                  <a:lnTo>
                    <a:pt x="180975" y="152400"/>
                  </a:lnTo>
                  <a:lnTo>
                    <a:pt x="35243" y="152400"/>
                  </a:lnTo>
                  <a:cubicBezTo>
                    <a:pt x="39053" y="121920"/>
                    <a:pt x="52388" y="94298"/>
                    <a:pt x="74295" y="72390"/>
                  </a:cubicBezTo>
                  <a:cubicBezTo>
                    <a:pt x="100013" y="46673"/>
                    <a:pt x="134303" y="32385"/>
                    <a:pt x="171450" y="32385"/>
                  </a:cubicBezTo>
                  <a:cubicBezTo>
                    <a:pt x="207645" y="32385"/>
                    <a:pt x="242888" y="46673"/>
                    <a:pt x="268605" y="72390"/>
                  </a:cubicBezTo>
                  <a:cubicBezTo>
                    <a:pt x="294323" y="98108"/>
                    <a:pt x="308610" y="132398"/>
                    <a:pt x="308610" y="169545"/>
                  </a:cubicBezTo>
                  <a:lnTo>
                    <a:pt x="342900" y="169545"/>
                  </a:lnTo>
                  <a:cubicBezTo>
                    <a:pt x="342900" y="148590"/>
                    <a:pt x="338138" y="125730"/>
                    <a:pt x="329565" y="104775"/>
                  </a:cubicBezTo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4070"/>
            </a:p>
          </p:txBody>
        </p:sp>
        <p:sp>
          <p:nvSpPr>
            <p:cNvPr id="21" name="Freeform: Shape 13">
              <a:extLst>
                <a:ext uri="{FF2B5EF4-FFF2-40B4-BE49-F238E27FC236}">
                  <a16:creationId xmlns:a16="http://schemas.microsoft.com/office/drawing/2014/main" id="{2EEC18A5-BDDB-614D-9D90-CDCA271F54B0}"/>
                </a:ext>
              </a:extLst>
            </p:cNvPr>
            <p:cNvSpPr/>
            <p:nvPr userDrawn="1"/>
          </p:nvSpPr>
          <p:spPr>
            <a:xfrm>
              <a:off x="590579" y="6484379"/>
              <a:ext cx="812771" cy="84028"/>
            </a:xfrm>
            <a:custGeom>
              <a:avLst/>
              <a:gdLst>
                <a:gd name="connsiteX0" fmla="*/ 1329690 w 1547812"/>
                <a:gd name="connsiteY0" fmla="*/ 155258 h 160020"/>
                <a:gd name="connsiteX1" fmla="*/ 1369695 w 1547812"/>
                <a:gd name="connsiteY1" fmla="*/ 155258 h 160020"/>
                <a:gd name="connsiteX2" fmla="*/ 1369695 w 1547812"/>
                <a:gd name="connsiteY2" fmla="*/ 65723 h 160020"/>
                <a:gd name="connsiteX3" fmla="*/ 1372553 w 1547812"/>
                <a:gd name="connsiteY3" fmla="*/ 53340 h 160020"/>
                <a:gd name="connsiteX4" fmla="*/ 1379220 w 1547812"/>
                <a:gd name="connsiteY4" fmla="*/ 43815 h 160020"/>
                <a:gd name="connsiteX5" fmla="*/ 1388745 w 1547812"/>
                <a:gd name="connsiteY5" fmla="*/ 37147 h 160020"/>
                <a:gd name="connsiteX6" fmla="*/ 1400175 w 1547812"/>
                <a:gd name="connsiteY6" fmla="*/ 35243 h 160020"/>
                <a:gd name="connsiteX7" fmla="*/ 1407795 w 1547812"/>
                <a:gd name="connsiteY7" fmla="*/ 36195 h 160020"/>
                <a:gd name="connsiteX8" fmla="*/ 1413510 w 1547812"/>
                <a:gd name="connsiteY8" fmla="*/ 40005 h 160020"/>
                <a:gd name="connsiteX9" fmla="*/ 1417320 w 1547812"/>
                <a:gd name="connsiteY9" fmla="*/ 47625 h 160020"/>
                <a:gd name="connsiteX10" fmla="*/ 1419225 w 1547812"/>
                <a:gd name="connsiteY10" fmla="*/ 60960 h 160020"/>
                <a:gd name="connsiteX11" fmla="*/ 1419225 w 1547812"/>
                <a:gd name="connsiteY11" fmla="*/ 155258 h 160020"/>
                <a:gd name="connsiteX12" fmla="*/ 1459230 w 1547812"/>
                <a:gd name="connsiteY12" fmla="*/ 155258 h 160020"/>
                <a:gd name="connsiteX13" fmla="*/ 1459230 w 1547812"/>
                <a:gd name="connsiteY13" fmla="*/ 63818 h 160020"/>
                <a:gd name="connsiteX14" fmla="*/ 1462088 w 1547812"/>
                <a:gd name="connsiteY14" fmla="*/ 53340 h 160020"/>
                <a:gd name="connsiteX15" fmla="*/ 1468755 w 1547812"/>
                <a:gd name="connsiteY15" fmla="*/ 43815 h 160020"/>
                <a:gd name="connsiteX16" fmla="*/ 1478280 w 1547812"/>
                <a:gd name="connsiteY16" fmla="*/ 37147 h 160020"/>
                <a:gd name="connsiteX17" fmla="*/ 1489710 w 1547812"/>
                <a:gd name="connsiteY17" fmla="*/ 35243 h 160020"/>
                <a:gd name="connsiteX18" fmla="*/ 1497330 w 1547812"/>
                <a:gd name="connsiteY18" fmla="*/ 36195 h 160020"/>
                <a:gd name="connsiteX19" fmla="*/ 1503045 w 1547812"/>
                <a:gd name="connsiteY19" fmla="*/ 40005 h 160020"/>
                <a:gd name="connsiteX20" fmla="*/ 1506855 w 1547812"/>
                <a:gd name="connsiteY20" fmla="*/ 47625 h 160020"/>
                <a:gd name="connsiteX21" fmla="*/ 1507808 w 1547812"/>
                <a:gd name="connsiteY21" fmla="*/ 60960 h 160020"/>
                <a:gd name="connsiteX22" fmla="*/ 1507808 w 1547812"/>
                <a:gd name="connsiteY22" fmla="*/ 155258 h 160020"/>
                <a:gd name="connsiteX23" fmla="*/ 1547813 w 1547812"/>
                <a:gd name="connsiteY23" fmla="*/ 155258 h 160020"/>
                <a:gd name="connsiteX24" fmla="*/ 1547813 w 1547812"/>
                <a:gd name="connsiteY24" fmla="*/ 55245 h 160020"/>
                <a:gd name="connsiteX25" fmla="*/ 1536383 w 1547812"/>
                <a:gd name="connsiteY25" fmla="*/ 14288 h 160020"/>
                <a:gd name="connsiteX26" fmla="*/ 1502093 w 1547812"/>
                <a:gd name="connsiteY26" fmla="*/ 1905 h 160020"/>
                <a:gd name="connsiteX27" fmla="*/ 1477328 w 1547812"/>
                <a:gd name="connsiteY27" fmla="*/ 7620 h 160020"/>
                <a:gd name="connsiteX28" fmla="*/ 1455420 w 1547812"/>
                <a:gd name="connsiteY28" fmla="*/ 27623 h 160020"/>
                <a:gd name="connsiteX29" fmla="*/ 1441133 w 1547812"/>
                <a:gd name="connsiteY29" fmla="*/ 8573 h 160020"/>
                <a:gd name="connsiteX30" fmla="*/ 1414463 w 1547812"/>
                <a:gd name="connsiteY30" fmla="*/ 1905 h 160020"/>
                <a:gd name="connsiteX31" fmla="*/ 1390650 w 1547812"/>
                <a:gd name="connsiteY31" fmla="*/ 7620 h 160020"/>
                <a:gd name="connsiteX32" fmla="*/ 1371600 w 1547812"/>
                <a:gd name="connsiteY32" fmla="*/ 25718 h 160020"/>
                <a:gd name="connsiteX33" fmla="*/ 1371600 w 1547812"/>
                <a:gd name="connsiteY33" fmla="*/ 5715 h 160020"/>
                <a:gd name="connsiteX34" fmla="*/ 1332548 w 1547812"/>
                <a:gd name="connsiteY34" fmla="*/ 5715 h 160020"/>
                <a:gd name="connsiteX35" fmla="*/ 1332548 w 1547812"/>
                <a:gd name="connsiteY35" fmla="*/ 155258 h 160020"/>
                <a:gd name="connsiteX36" fmla="*/ 1199198 w 1547812"/>
                <a:gd name="connsiteY36" fmla="*/ 116205 h 160020"/>
                <a:gd name="connsiteX37" fmla="*/ 1190625 w 1547812"/>
                <a:gd name="connsiteY37" fmla="*/ 80963 h 160020"/>
                <a:gd name="connsiteX38" fmla="*/ 1199198 w 1547812"/>
                <a:gd name="connsiteY38" fmla="*/ 45720 h 160020"/>
                <a:gd name="connsiteX39" fmla="*/ 1224915 w 1547812"/>
                <a:gd name="connsiteY39" fmla="*/ 33338 h 160020"/>
                <a:gd name="connsiteX40" fmla="*/ 1250633 w 1547812"/>
                <a:gd name="connsiteY40" fmla="*/ 45720 h 160020"/>
                <a:gd name="connsiteX41" fmla="*/ 1259205 w 1547812"/>
                <a:gd name="connsiteY41" fmla="*/ 80963 h 160020"/>
                <a:gd name="connsiteX42" fmla="*/ 1250633 w 1547812"/>
                <a:gd name="connsiteY42" fmla="*/ 116205 h 160020"/>
                <a:gd name="connsiteX43" fmla="*/ 1224915 w 1547812"/>
                <a:gd name="connsiteY43" fmla="*/ 128588 h 160020"/>
                <a:gd name="connsiteX44" fmla="*/ 1199198 w 1547812"/>
                <a:gd name="connsiteY44" fmla="*/ 116205 h 160020"/>
                <a:gd name="connsiteX45" fmla="*/ 1256348 w 1547812"/>
                <a:gd name="connsiteY45" fmla="*/ 154305 h 160020"/>
                <a:gd name="connsiteX46" fmla="*/ 1280160 w 1547812"/>
                <a:gd name="connsiteY46" fmla="*/ 138113 h 160020"/>
                <a:gd name="connsiteX47" fmla="*/ 1295400 w 1547812"/>
                <a:gd name="connsiteY47" fmla="*/ 113348 h 160020"/>
                <a:gd name="connsiteX48" fmla="*/ 1301115 w 1547812"/>
                <a:gd name="connsiteY48" fmla="*/ 80010 h 160020"/>
                <a:gd name="connsiteX49" fmla="*/ 1296353 w 1547812"/>
                <a:gd name="connsiteY49" fmla="*/ 46672 h 160020"/>
                <a:gd name="connsiteX50" fmla="*/ 1281113 w 1547812"/>
                <a:gd name="connsiteY50" fmla="*/ 21908 h 160020"/>
                <a:gd name="connsiteX51" fmla="*/ 1257300 w 1547812"/>
                <a:gd name="connsiteY51" fmla="*/ 6668 h 160020"/>
                <a:gd name="connsiteX52" fmla="*/ 1225868 w 1547812"/>
                <a:gd name="connsiteY52" fmla="*/ 953 h 160020"/>
                <a:gd name="connsiteX53" fmla="*/ 1194435 w 1547812"/>
                <a:gd name="connsiteY53" fmla="*/ 6668 h 160020"/>
                <a:gd name="connsiteX54" fmla="*/ 1170623 w 1547812"/>
                <a:gd name="connsiteY54" fmla="*/ 21908 h 160020"/>
                <a:gd name="connsiteX55" fmla="*/ 1155383 w 1547812"/>
                <a:gd name="connsiteY55" fmla="*/ 46672 h 160020"/>
                <a:gd name="connsiteX56" fmla="*/ 1149668 w 1547812"/>
                <a:gd name="connsiteY56" fmla="*/ 80010 h 160020"/>
                <a:gd name="connsiteX57" fmla="*/ 1169670 w 1547812"/>
                <a:gd name="connsiteY57" fmla="*/ 139065 h 160020"/>
                <a:gd name="connsiteX58" fmla="*/ 1225868 w 1547812"/>
                <a:gd name="connsiteY58" fmla="*/ 160020 h 160020"/>
                <a:gd name="connsiteX59" fmla="*/ 1256348 w 1547812"/>
                <a:gd name="connsiteY59" fmla="*/ 154305 h 160020"/>
                <a:gd name="connsiteX60" fmla="*/ 1086803 w 1547812"/>
                <a:gd name="connsiteY60" fmla="*/ 100965 h 160020"/>
                <a:gd name="connsiteX61" fmla="*/ 1079183 w 1547812"/>
                <a:gd name="connsiteY61" fmla="*/ 120968 h 160020"/>
                <a:gd name="connsiteX62" fmla="*/ 1061085 w 1547812"/>
                <a:gd name="connsiteY62" fmla="*/ 127635 h 160020"/>
                <a:gd name="connsiteX63" fmla="*/ 1045845 w 1547812"/>
                <a:gd name="connsiteY63" fmla="*/ 123825 h 160020"/>
                <a:gd name="connsiteX64" fmla="*/ 1036320 w 1547812"/>
                <a:gd name="connsiteY64" fmla="*/ 113348 h 160020"/>
                <a:gd name="connsiteX65" fmla="*/ 1031558 w 1547812"/>
                <a:gd name="connsiteY65" fmla="*/ 98108 h 160020"/>
                <a:gd name="connsiteX66" fmla="*/ 1029653 w 1547812"/>
                <a:gd name="connsiteY66" fmla="*/ 80010 h 160020"/>
                <a:gd name="connsiteX67" fmla="*/ 1031558 w 1547812"/>
                <a:gd name="connsiteY67" fmla="*/ 62865 h 160020"/>
                <a:gd name="connsiteX68" fmla="*/ 1036320 w 1547812"/>
                <a:gd name="connsiteY68" fmla="*/ 47625 h 160020"/>
                <a:gd name="connsiteX69" fmla="*/ 1045845 w 1547812"/>
                <a:gd name="connsiteY69" fmla="*/ 37147 h 160020"/>
                <a:gd name="connsiteX70" fmla="*/ 1061085 w 1547812"/>
                <a:gd name="connsiteY70" fmla="*/ 33338 h 160020"/>
                <a:gd name="connsiteX71" fmla="*/ 1079183 w 1547812"/>
                <a:gd name="connsiteY71" fmla="*/ 40005 h 160020"/>
                <a:gd name="connsiteX72" fmla="*/ 1085850 w 1547812"/>
                <a:gd name="connsiteY72" fmla="*/ 58103 h 160020"/>
                <a:gd name="connsiteX73" fmla="*/ 1125855 w 1547812"/>
                <a:gd name="connsiteY73" fmla="*/ 52388 h 160020"/>
                <a:gd name="connsiteX74" fmla="*/ 1120140 w 1547812"/>
                <a:gd name="connsiteY74" fmla="*/ 31433 h 160020"/>
                <a:gd name="connsiteX75" fmla="*/ 1107758 w 1547812"/>
                <a:gd name="connsiteY75" fmla="*/ 15240 h 160020"/>
                <a:gd name="connsiteX76" fmla="*/ 1088708 w 1547812"/>
                <a:gd name="connsiteY76" fmla="*/ 4763 h 160020"/>
                <a:gd name="connsiteX77" fmla="*/ 1062038 w 1547812"/>
                <a:gd name="connsiteY77" fmla="*/ 953 h 160020"/>
                <a:gd name="connsiteX78" fmla="*/ 1030605 w 1547812"/>
                <a:gd name="connsiteY78" fmla="*/ 6668 h 160020"/>
                <a:gd name="connsiteX79" fmla="*/ 1007745 w 1547812"/>
                <a:gd name="connsiteY79" fmla="*/ 22860 h 160020"/>
                <a:gd name="connsiteX80" fmla="*/ 993458 w 1547812"/>
                <a:gd name="connsiteY80" fmla="*/ 47625 h 160020"/>
                <a:gd name="connsiteX81" fmla="*/ 988695 w 1547812"/>
                <a:gd name="connsiteY81" fmla="*/ 80010 h 160020"/>
                <a:gd name="connsiteX82" fmla="*/ 992505 w 1547812"/>
                <a:gd name="connsiteY82" fmla="*/ 112395 h 160020"/>
                <a:gd name="connsiteX83" fmla="*/ 1005840 w 1547812"/>
                <a:gd name="connsiteY83" fmla="*/ 137160 h 160020"/>
                <a:gd name="connsiteX84" fmla="*/ 1028700 w 1547812"/>
                <a:gd name="connsiteY84" fmla="*/ 153353 h 160020"/>
                <a:gd name="connsiteX85" fmla="*/ 1061085 w 1547812"/>
                <a:gd name="connsiteY85" fmla="*/ 159068 h 160020"/>
                <a:gd name="connsiteX86" fmla="*/ 1109663 w 1547812"/>
                <a:gd name="connsiteY86" fmla="*/ 142875 h 160020"/>
                <a:gd name="connsiteX87" fmla="*/ 1127760 w 1547812"/>
                <a:gd name="connsiteY87" fmla="*/ 100013 h 160020"/>
                <a:gd name="connsiteX88" fmla="*/ 1086803 w 1547812"/>
                <a:gd name="connsiteY88" fmla="*/ 100013 h 160020"/>
                <a:gd name="connsiteX89" fmla="*/ 921068 w 1547812"/>
                <a:gd name="connsiteY89" fmla="*/ 155258 h 160020"/>
                <a:gd name="connsiteX90" fmla="*/ 962025 w 1547812"/>
                <a:gd name="connsiteY90" fmla="*/ 155258 h 160020"/>
                <a:gd name="connsiteX91" fmla="*/ 962025 w 1547812"/>
                <a:gd name="connsiteY91" fmla="*/ 109538 h 160020"/>
                <a:gd name="connsiteX92" fmla="*/ 921068 w 1547812"/>
                <a:gd name="connsiteY92" fmla="*/ 109538 h 160020"/>
                <a:gd name="connsiteX93" fmla="*/ 921068 w 1547812"/>
                <a:gd name="connsiteY93" fmla="*/ 155258 h 160020"/>
                <a:gd name="connsiteX94" fmla="*/ 671513 w 1547812"/>
                <a:gd name="connsiteY94" fmla="*/ 155258 h 160020"/>
                <a:gd name="connsiteX95" fmla="*/ 711518 w 1547812"/>
                <a:gd name="connsiteY95" fmla="*/ 155258 h 160020"/>
                <a:gd name="connsiteX96" fmla="*/ 711518 w 1547812"/>
                <a:gd name="connsiteY96" fmla="*/ 65723 h 160020"/>
                <a:gd name="connsiteX97" fmla="*/ 714375 w 1547812"/>
                <a:gd name="connsiteY97" fmla="*/ 53340 h 160020"/>
                <a:gd name="connsiteX98" fmla="*/ 721043 w 1547812"/>
                <a:gd name="connsiteY98" fmla="*/ 43815 h 160020"/>
                <a:gd name="connsiteX99" fmla="*/ 730568 w 1547812"/>
                <a:gd name="connsiteY99" fmla="*/ 37147 h 160020"/>
                <a:gd name="connsiteX100" fmla="*/ 741998 w 1547812"/>
                <a:gd name="connsiteY100" fmla="*/ 35243 h 160020"/>
                <a:gd name="connsiteX101" fmla="*/ 749618 w 1547812"/>
                <a:gd name="connsiteY101" fmla="*/ 36195 h 160020"/>
                <a:gd name="connsiteX102" fmla="*/ 755333 w 1547812"/>
                <a:gd name="connsiteY102" fmla="*/ 40005 h 160020"/>
                <a:gd name="connsiteX103" fmla="*/ 759143 w 1547812"/>
                <a:gd name="connsiteY103" fmla="*/ 47625 h 160020"/>
                <a:gd name="connsiteX104" fmla="*/ 761048 w 1547812"/>
                <a:gd name="connsiteY104" fmla="*/ 60960 h 160020"/>
                <a:gd name="connsiteX105" fmla="*/ 761048 w 1547812"/>
                <a:gd name="connsiteY105" fmla="*/ 155258 h 160020"/>
                <a:gd name="connsiteX106" fmla="*/ 801053 w 1547812"/>
                <a:gd name="connsiteY106" fmla="*/ 155258 h 160020"/>
                <a:gd name="connsiteX107" fmla="*/ 801053 w 1547812"/>
                <a:gd name="connsiteY107" fmla="*/ 63818 h 160020"/>
                <a:gd name="connsiteX108" fmla="*/ 803910 w 1547812"/>
                <a:gd name="connsiteY108" fmla="*/ 53340 h 160020"/>
                <a:gd name="connsiteX109" fmla="*/ 810578 w 1547812"/>
                <a:gd name="connsiteY109" fmla="*/ 43815 h 160020"/>
                <a:gd name="connsiteX110" fmla="*/ 820103 w 1547812"/>
                <a:gd name="connsiteY110" fmla="*/ 37147 h 160020"/>
                <a:gd name="connsiteX111" fmla="*/ 831533 w 1547812"/>
                <a:gd name="connsiteY111" fmla="*/ 35243 h 160020"/>
                <a:gd name="connsiteX112" fmla="*/ 839153 w 1547812"/>
                <a:gd name="connsiteY112" fmla="*/ 36195 h 160020"/>
                <a:gd name="connsiteX113" fmla="*/ 844868 w 1547812"/>
                <a:gd name="connsiteY113" fmla="*/ 40005 h 160020"/>
                <a:gd name="connsiteX114" fmla="*/ 848678 w 1547812"/>
                <a:gd name="connsiteY114" fmla="*/ 47625 h 160020"/>
                <a:gd name="connsiteX115" fmla="*/ 849630 w 1547812"/>
                <a:gd name="connsiteY115" fmla="*/ 60960 h 160020"/>
                <a:gd name="connsiteX116" fmla="*/ 849630 w 1547812"/>
                <a:gd name="connsiteY116" fmla="*/ 155258 h 160020"/>
                <a:gd name="connsiteX117" fmla="*/ 889635 w 1547812"/>
                <a:gd name="connsiteY117" fmla="*/ 155258 h 160020"/>
                <a:gd name="connsiteX118" fmla="*/ 889635 w 1547812"/>
                <a:gd name="connsiteY118" fmla="*/ 55245 h 160020"/>
                <a:gd name="connsiteX119" fmla="*/ 878205 w 1547812"/>
                <a:gd name="connsiteY119" fmla="*/ 14288 h 160020"/>
                <a:gd name="connsiteX120" fmla="*/ 843915 w 1547812"/>
                <a:gd name="connsiteY120" fmla="*/ 1905 h 160020"/>
                <a:gd name="connsiteX121" fmla="*/ 819150 w 1547812"/>
                <a:gd name="connsiteY121" fmla="*/ 7620 h 160020"/>
                <a:gd name="connsiteX122" fmla="*/ 797243 w 1547812"/>
                <a:gd name="connsiteY122" fmla="*/ 27623 h 160020"/>
                <a:gd name="connsiteX123" fmla="*/ 782955 w 1547812"/>
                <a:gd name="connsiteY123" fmla="*/ 8573 h 160020"/>
                <a:gd name="connsiteX124" fmla="*/ 756285 w 1547812"/>
                <a:gd name="connsiteY124" fmla="*/ 1905 h 160020"/>
                <a:gd name="connsiteX125" fmla="*/ 732473 w 1547812"/>
                <a:gd name="connsiteY125" fmla="*/ 7620 h 160020"/>
                <a:gd name="connsiteX126" fmla="*/ 713423 w 1547812"/>
                <a:gd name="connsiteY126" fmla="*/ 25718 h 160020"/>
                <a:gd name="connsiteX127" fmla="*/ 713423 w 1547812"/>
                <a:gd name="connsiteY127" fmla="*/ 5715 h 160020"/>
                <a:gd name="connsiteX128" fmla="*/ 674370 w 1547812"/>
                <a:gd name="connsiteY128" fmla="*/ 5715 h 160020"/>
                <a:gd name="connsiteX129" fmla="*/ 674370 w 1547812"/>
                <a:gd name="connsiteY129" fmla="*/ 155258 h 160020"/>
                <a:gd name="connsiteX130" fmla="*/ 541973 w 1547812"/>
                <a:gd name="connsiteY130" fmla="*/ 116205 h 160020"/>
                <a:gd name="connsiteX131" fmla="*/ 533400 w 1547812"/>
                <a:gd name="connsiteY131" fmla="*/ 80963 h 160020"/>
                <a:gd name="connsiteX132" fmla="*/ 541973 w 1547812"/>
                <a:gd name="connsiteY132" fmla="*/ 45720 h 160020"/>
                <a:gd name="connsiteX133" fmla="*/ 567690 w 1547812"/>
                <a:gd name="connsiteY133" fmla="*/ 33338 h 160020"/>
                <a:gd name="connsiteX134" fmla="*/ 593408 w 1547812"/>
                <a:gd name="connsiteY134" fmla="*/ 45720 h 160020"/>
                <a:gd name="connsiteX135" fmla="*/ 601980 w 1547812"/>
                <a:gd name="connsiteY135" fmla="*/ 80963 h 160020"/>
                <a:gd name="connsiteX136" fmla="*/ 593408 w 1547812"/>
                <a:gd name="connsiteY136" fmla="*/ 116205 h 160020"/>
                <a:gd name="connsiteX137" fmla="*/ 567690 w 1547812"/>
                <a:gd name="connsiteY137" fmla="*/ 128588 h 160020"/>
                <a:gd name="connsiteX138" fmla="*/ 541973 w 1547812"/>
                <a:gd name="connsiteY138" fmla="*/ 116205 h 160020"/>
                <a:gd name="connsiteX139" fmla="*/ 598170 w 1547812"/>
                <a:gd name="connsiteY139" fmla="*/ 154305 h 160020"/>
                <a:gd name="connsiteX140" fmla="*/ 621983 w 1547812"/>
                <a:gd name="connsiteY140" fmla="*/ 138113 h 160020"/>
                <a:gd name="connsiteX141" fmla="*/ 637223 w 1547812"/>
                <a:gd name="connsiteY141" fmla="*/ 113348 h 160020"/>
                <a:gd name="connsiteX142" fmla="*/ 642938 w 1547812"/>
                <a:gd name="connsiteY142" fmla="*/ 80010 h 160020"/>
                <a:gd name="connsiteX143" fmla="*/ 638175 w 1547812"/>
                <a:gd name="connsiteY143" fmla="*/ 46672 h 160020"/>
                <a:gd name="connsiteX144" fmla="*/ 622935 w 1547812"/>
                <a:gd name="connsiteY144" fmla="*/ 21908 h 160020"/>
                <a:gd name="connsiteX145" fmla="*/ 599123 w 1547812"/>
                <a:gd name="connsiteY145" fmla="*/ 6668 h 160020"/>
                <a:gd name="connsiteX146" fmla="*/ 567690 w 1547812"/>
                <a:gd name="connsiteY146" fmla="*/ 953 h 160020"/>
                <a:gd name="connsiteX147" fmla="*/ 536258 w 1547812"/>
                <a:gd name="connsiteY147" fmla="*/ 6668 h 160020"/>
                <a:gd name="connsiteX148" fmla="*/ 512445 w 1547812"/>
                <a:gd name="connsiteY148" fmla="*/ 21908 h 160020"/>
                <a:gd name="connsiteX149" fmla="*/ 497205 w 1547812"/>
                <a:gd name="connsiteY149" fmla="*/ 46672 h 160020"/>
                <a:gd name="connsiteX150" fmla="*/ 491490 w 1547812"/>
                <a:gd name="connsiteY150" fmla="*/ 80010 h 160020"/>
                <a:gd name="connsiteX151" fmla="*/ 511492 w 1547812"/>
                <a:gd name="connsiteY151" fmla="*/ 139065 h 160020"/>
                <a:gd name="connsiteX152" fmla="*/ 566738 w 1547812"/>
                <a:gd name="connsiteY152" fmla="*/ 160020 h 160020"/>
                <a:gd name="connsiteX153" fmla="*/ 598170 w 1547812"/>
                <a:gd name="connsiteY153" fmla="*/ 154305 h 160020"/>
                <a:gd name="connsiteX154" fmla="*/ 429578 w 1547812"/>
                <a:gd name="connsiteY154" fmla="*/ 100965 h 160020"/>
                <a:gd name="connsiteX155" fmla="*/ 421958 w 1547812"/>
                <a:gd name="connsiteY155" fmla="*/ 120968 h 160020"/>
                <a:gd name="connsiteX156" fmla="*/ 403860 w 1547812"/>
                <a:gd name="connsiteY156" fmla="*/ 127635 h 160020"/>
                <a:gd name="connsiteX157" fmla="*/ 388620 w 1547812"/>
                <a:gd name="connsiteY157" fmla="*/ 123825 h 160020"/>
                <a:gd name="connsiteX158" fmla="*/ 379095 w 1547812"/>
                <a:gd name="connsiteY158" fmla="*/ 113348 h 160020"/>
                <a:gd name="connsiteX159" fmla="*/ 374333 w 1547812"/>
                <a:gd name="connsiteY159" fmla="*/ 98108 h 160020"/>
                <a:gd name="connsiteX160" fmla="*/ 372428 w 1547812"/>
                <a:gd name="connsiteY160" fmla="*/ 80010 h 160020"/>
                <a:gd name="connsiteX161" fmla="*/ 374333 w 1547812"/>
                <a:gd name="connsiteY161" fmla="*/ 62865 h 160020"/>
                <a:gd name="connsiteX162" fmla="*/ 379095 w 1547812"/>
                <a:gd name="connsiteY162" fmla="*/ 47625 h 160020"/>
                <a:gd name="connsiteX163" fmla="*/ 388620 w 1547812"/>
                <a:gd name="connsiteY163" fmla="*/ 37147 h 160020"/>
                <a:gd name="connsiteX164" fmla="*/ 403860 w 1547812"/>
                <a:gd name="connsiteY164" fmla="*/ 33338 h 160020"/>
                <a:gd name="connsiteX165" fmla="*/ 421958 w 1547812"/>
                <a:gd name="connsiteY165" fmla="*/ 40005 h 160020"/>
                <a:gd name="connsiteX166" fmla="*/ 428625 w 1547812"/>
                <a:gd name="connsiteY166" fmla="*/ 58103 h 160020"/>
                <a:gd name="connsiteX167" fmla="*/ 468630 w 1547812"/>
                <a:gd name="connsiteY167" fmla="*/ 52388 h 160020"/>
                <a:gd name="connsiteX168" fmla="*/ 462915 w 1547812"/>
                <a:gd name="connsiteY168" fmla="*/ 31433 h 160020"/>
                <a:gd name="connsiteX169" fmla="*/ 450533 w 1547812"/>
                <a:gd name="connsiteY169" fmla="*/ 15240 h 160020"/>
                <a:gd name="connsiteX170" fmla="*/ 431483 w 1547812"/>
                <a:gd name="connsiteY170" fmla="*/ 4763 h 160020"/>
                <a:gd name="connsiteX171" fmla="*/ 404813 w 1547812"/>
                <a:gd name="connsiteY171" fmla="*/ 953 h 160020"/>
                <a:gd name="connsiteX172" fmla="*/ 373380 w 1547812"/>
                <a:gd name="connsiteY172" fmla="*/ 6668 h 160020"/>
                <a:gd name="connsiteX173" fmla="*/ 350520 w 1547812"/>
                <a:gd name="connsiteY173" fmla="*/ 22860 h 160020"/>
                <a:gd name="connsiteX174" fmla="*/ 336233 w 1547812"/>
                <a:gd name="connsiteY174" fmla="*/ 47625 h 160020"/>
                <a:gd name="connsiteX175" fmla="*/ 331470 w 1547812"/>
                <a:gd name="connsiteY175" fmla="*/ 80010 h 160020"/>
                <a:gd name="connsiteX176" fmla="*/ 336233 w 1547812"/>
                <a:gd name="connsiteY176" fmla="*/ 112395 h 160020"/>
                <a:gd name="connsiteX177" fmla="*/ 349567 w 1547812"/>
                <a:gd name="connsiteY177" fmla="*/ 137160 h 160020"/>
                <a:gd name="connsiteX178" fmla="*/ 372428 w 1547812"/>
                <a:gd name="connsiteY178" fmla="*/ 153353 h 160020"/>
                <a:gd name="connsiteX179" fmla="*/ 404813 w 1547812"/>
                <a:gd name="connsiteY179" fmla="*/ 159068 h 160020"/>
                <a:gd name="connsiteX180" fmla="*/ 453390 w 1547812"/>
                <a:gd name="connsiteY180" fmla="*/ 142875 h 160020"/>
                <a:gd name="connsiteX181" fmla="*/ 471488 w 1547812"/>
                <a:gd name="connsiteY181" fmla="*/ 100013 h 160020"/>
                <a:gd name="connsiteX182" fmla="*/ 429578 w 1547812"/>
                <a:gd name="connsiteY182" fmla="*/ 100013 h 160020"/>
                <a:gd name="connsiteX183" fmla="*/ 203835 w 1547812"/>
                <a:gd name="connsiteY183" fmla="*/ 63818 h 160020"/>
                <a:gd name="connsiteX184" fmla="*/ 206692 w 1547812"/>
                <a:gd name="connsiteY184" fmla="*/ 51435 h 160020"/>
                <a:gd name="connsiteX185" fmla="*/ 213360 w 1547812"/>
                <a:gd name="connsiteY185" fmla="*/ 40958 h 160020"/>
                <a:gd name="connsiteX186" fmla="*/ 223838 w 1547812"/>
                <a:gd name="connsiteY186" fmla="*/ 34290 h 160020"/>
                <a:gd name="connsiteX187" fmla="*/ 238125 w 1547812"/>
                <a:gd name="connsiteY187" fmla="*/ 31433 h 160020"/>
                <a:gd name="connsiteX188" fmla="*/ 261938 w 1547812"/>
                <a:gd name="connsiteY188" fmla="*/ 40005 h 160020"/>
                <a:gd name="connsiteX189" fmla="*/ 269558 w 1547812"/>
                <a:gd name="connsiteY189" fmla="*/ 63818 h 160020"/>
                <a:gd name="connsiteX190" fmla="*/ 203835 w 1547812"/>
                <a:gd name="connsiteY190" fmla="*/ 63818 h 160020"/>
                <a:gd name="connsiteX191" fmla="*/ 266700 w 1547812"/>
                <a:gd name="connsiteY191" fmla="*/ 108585 h 160020"/>
                <a:gd name="connsiteX192" fmla="*/ 239077 w 1547812"/>
                <a:gd name="connsiteY192" fmla="*/ 128588 h 160020"/>
                <a:gd name="connsiteX193" fmla="*/ 213360 w 1547812"/>
                <a:gd name="connsiteY193" fmla="*/ 118110 h 160020"/>
                <a:gd name="connsiteX194" fmla="*/ 203835 w 1547812"/>
                <a:gd name="connsiteY194" fmla="*/ 89535 h 160020"/>
                <a:gd name="connsiteX195" fmla="*/ 307658 w 1547812"/>
                <a:gd name="connsiteY195" fmla="*/ 89535 h 160020"/>
                <a:gd name="connsiteX196" fmla="*/ 307658 w 1547812"/>
                <a:gd name="connsiteY196" fmla="*/ 73343 h 160020"/>
                <a:gd name="connsiteX197" fmla="*/ 290513 w 1547812"/>
                <a:gd name="connsiteY197" fmla="*/ 20003 h 160020"/>
                <a:gd name="connsiteX198" fmla="*/ 239077 w 1547812"/>
                <a:gd name="connsiteY198" fmla="*/ 0 h 160020"/>
                <a:gd name="connsiteX199" fmla="*/ 208598 w 1547812"/>
                <a:gd name="connsiteY199" fmla="*/ 5715 h 160020"/>
                <a:gd name="connsiteX200" fmla="*/ 184785 w 1547812"/>
                <a:gd name="connsiteY200" fmla="*/ 20955 h 160020"/>
                <a:gd name="connsiteX201" fmla="*/ 169545 w 1547812"/>
                <a:gd name="connsiteY201" fmla="*/ 45720 h 160020"/>
                <a:gd name="connsiteX202" fmla="*/ 163830 w 1547812"/>
                <a:gd name="connsiteY202" fmla="*/ 79058 h 160020"/>
                <a:gd name="connsiteX203" fmla="*/ 182880 w 1547812"/>
                <a:gd name="connsiteY203" fmla="*/ 137160 h 160020"/>
                <a:gd name="connsiteX204" fmla="*/ 239077 w 1547812"/>
                <a:gd name="connsiteY204" fmla="*/ 158115 h 160020"/>
                <a:gd name="connsiteX205" fmla="*/ 285750 w 1547812"/>
                <a:gd name="connsiteY205" fmla="*/ 144780 h 160020"/>
                <a:gd name="connsiteX206" fmla="*/ 305753 w 1547812"/>
                <a:gd name="connsiteY206" fmla="*/ 106680 h 160020"/>
                <a:gd name="connsiteX207" fmla="*/ 266700 w 1547812"/>
                <a:gd name="connsiteY207" fmla="*/ 106680 h 160020"/>
                <a:gd name="connsiteX208" fmla="*/ 97155 w 1547812"/>
                <a:gd name="connsiteY208" fmla="*/ 96203 h 160020"/>
                <a:gd name="connsiteX209" fmla="*/ 93345 w 1547812"/>
                <a:gd name="connsiteY209" fmla="*/ 111443 h 160020"/>
                <a:gd name="connsiteX210" fmla="*/ 84773 w 1547812"/>
                <a:gd name="connsiteY210" fmla="*/ 121920 h 160020"/>
                <a:gd name="connsiteX211" fmla="*/ 60007 w 1547812"/>
                <a:gd name="connsiteY211" fmla="*/ 129540 h 160020"/>
                <a:gd name="connsiteX212" fmla="*/ 45720 w 1547812"/>
                <a:gd name="connsiteY212" fmla="*/ 124778 h 160020"/>
                <a:gd name="connsiteX213" fmla="*/ 40957 w 1547812"/>
                <a:gd name="connsiteY213" fmla="*/ 113348 h 160020"/>
                <a:gd name="connsiteX214" fmla="*/ 42863 w 1547812"/>
                <a:gd name="connsiteY214" fmla="*/ 104775 h 160020"/>
                <a:gd name="connsiteX215" fmla="*/ 48577 w 1547812"/>
                <a:gd name="connsiteY215" fmla="*/ 98108 h 160020"/>
                <a:gd name="connsiteX216" fmla="*/ 60007 w 1547812"/>
                <a:gd name="connsiteY216" fmla="*/ 93345 h 160020"/>
                <a:gd name="connsiteX217" fmla="*/ 80010 w 1547812"/>
                <a:gd name="connsiteY217" fmla="*/ 90488 h 160020"/>
                <a:gd name="connsiteX218" fmla="*/ 98107 w 1547812"/>
                <a:gd name="connsiteY218" fmla="*/ 89535 h 160020"/>
                <a:gd name="connsiteX219" fmla="*/ 98107 w 1547812"/>
                <a:gd name="connsiteY219" fmla="*/ 96203 h 160020"/>
                <a:gd name="connsiteX220" fmla="*/ 98107 w 1547812"/>
                <a:gd name="connsiteY220" fmla="*/ 155258 h 160020"/>
                <a:gd name="connsiteX221" fmla="*/ 136208 w 1547812"/>
                <a:gd name="connsiteY221" fmla="*/ 155258 h 160020"/>
                <a:gd name="connsiteX222" fmla="*/ 136208 w 1547812"/>
                <a:gd name="connsiteY222" fmla="*/ 60960 h 160020"/>
                <a:gd name="connsiteX223" fmla="*/ 133350 w 1547812"/>
                <a:gd name="connsiteY223" fmla="*/ 36195 h 160020"/>
                <a:gd name="connsiteX224" fmla="*/ 122873 w 1547812"/>
                <a:gd name="connsiteY224" fmla="*/ 17145 h 160020"/>
                <a:gd name="connsiteX225" fmla="*/ 103823 w 1547812"/>
                <a:gd name="connsiteY225" fmla="*/ 5715 h 160020"/>
                <a:gd name="connsiteX226" fmla="*/ 74295 w 1547812"/>
                <a:gd name="connsiteY226" fmla="*/ 1905 h 160020"/>
                <a:gd name="connsiteX227" fmla="*/ 29527 w 1547812"/>
                <a:gd name="connsiteY227" fmla="*/ 12383 h 160020"/>
                <a:gd name="connsiteX228" fmla="*/ 8573 w 1547812"/>
                <a:gd name="connsiteY228" fmla="*/ 46672 h 160020"/>
                <a:gd name="connsiteX229" fmla="*/ 44768 w 1547812"/>
                <a:gd name="connsiteY229" fmla="*/ 50483 h 160020"/>
                <a:gd name="connsiteX230" fmla="*/ 71438 w 1547812"/>
                <a:gd name="connsiteY230" fmla="*/ 32385 h 160020"/>
                <a:gd name="connsiteX231" fmla="*/ 89535 w 1547812"/>
                <a:gd name="connsiteY231" fmla="*/ 37147 h 160020"/>
                <a:gd name="connsiteX232" fmla="*/ 97155 w 1547812"/>
                <a:gd name="connsiteY232" fmla="*/ 56197 h 160020"/>
                <a:gd name="connsiteX233" fmla="*/ 97155 w 1547812"/>
                <a:gd name="connsiteY233" fmla="*/ 62865 h 160020"/>
                <a:gd name="connsiteX234" fmla="*/ 78105 w 1547812"/>
                <a:gd name="connsiteY234" fmla="*/ 63818 h 160020"/>
                <a:gd name="connsiteX235" fmla="*/ 49530 w 1547812"/>
                <a:gd name="connsiteY235" fmla="*/ 66675 h 160020"/>
                <a:gd name="connsiteX236" fmla="*/ 24765 w 1547812"/>
                <a:gd name="connsiteY236" fmla="*/ 74295 h 160020"/>
                <a:gd name="connsiteX237" fmla="*/ 6668 w 1547812"/>
                <a:gd name="connsiteY237" fmla="*/ 89535 h 160020"/>
                <a:gd name="connsiteX238" fmla="*/ 0 w 1547812"/>
                <a:gd name="connsiteY238" fmla="*/ 114300 h 160020"/>
                <a:gd name="connsiteX239" fmla="*/ 3810 w 1547812"/>
                <a:gd name="connsiteY239" fmla="*/ 134303 h 160020"/>
                <a:gd name="connsiteX240" fmla="*/ 14288 w 1547812"/>
                <a:gd name="connsiteY240" fmla="*/ 148590 h 160020"/>
                <a:gd name="connsiteX241" fmla="*/ 29527 w 1547812"/>
                <a:gd name="connsiteY241" fmla="*/ 156210 h 160020"/>
                <a:gd name="connsiteX242" fmla="*/ 48577 w 1547812"/>
                <a:gd name="connsiteY242" fmla="*/ 159068 h 160020"/>
                <a:gd name="connsiteX243" fmla="*/ 77152 w 1547812"/>
                <a:gd name="connsiteY243" fmla="*/ 152400 h 160020"/>
                <a:gd name="connsiteX244" fmla="*/ 97155 w 1547812"/>
                <a:gd name="connsiteY244" fmla="*/ 136208 h 160020"/>
                <a:gd name="connsiteX245" fmla="*/ 97155 w 1547812"/>
                <a:gd name="connsiteY245" fmla="*/ 155258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1547812" h="160020">
                  <a:moveTo>
                    <a:pt x="1329690" y="155258"/>
                  </a:moveTo>
                  <a:lnTo>
                    <a:pt x="1369695" y="155258"/>
                  </a:lnTo>
                  <a:lnTo>
                    <a:pt x="1369695" y="65723"/>
                  </a:lnTo>
                  <a:cubicBezTo>
                    <a:pt x="1369695" y="60960"/>
                    <a:pt x="1370648" y="57150"/>
                    <a:pt x="1372553" y="53340"/>
                  </a:cubicBezTo>
                  <a:cubicBezTo>
                    <a:pt x="1374458" y="49530"/>
                    <a:pt x="1376363" y="46672"/>
                    <a:pt x="1379220" y="43815"/>
                  </a:cubicBezTo>
                  <a:cubicBezTo>
                    <a:pt x="1382078" y="40958"/>
                    <a:pt x="1385888" y="38100"/>
                    <a:pt x="1388745" y="37147"/>
                  </a:cubicBezTo>
                  <a:cubicBezTo>
                    <a:pt x="1392555" y="36195"/>
                    <a:pt x="1395413" y="35243"/>
                    <a:pt x="1400175" y="35243"/>
                  </a:cubicBezTo>
                  <a:cubicBezTo>
                    <a:pt x="1403033" y="35243"/>
                    <a:pt x="1404938" y="35243"/>
                    <a:pt x="1407795" y="36195"/>
                  </a:cubicBezTo>
                  <a:cubicBezTo>
                    <a:pt x="1409700" y="37147"/>
                    <a:pt x="1411605" y="38100"/>
                    <a:pt x="1413510" y="40005"/>
                  </a:cubicBezTo>
                  <a:cubicBezTo>
                    <a:pt x="1415415" y="41910"/>
                    <a:pt x="1416368" y="44768"/>
                    <a:pt x="1417320" y="47625"/>
                  </a:cubicBezTo>
                  <a:cubicBezTo>
                    <a:pt x="1418273" y="51435"/>
                    <a:pt x="1419225" y="55245"/>
                    <a:pt x="1419225" y="60960"/>
                  </a:cubicBezTo>
                  <a:lnTo>
                    <a:pt x="1419225" y="155258"/>
                  </a:lnTo>
                  <a:lnTo>
                    <a:pt x="1459230" y="155258"/>
                  </a:lnTo>
                  <a:lnTo>
                    <a:pt x="1459230" y="63818"/>
                  </a:lnTo>
                  <a:cubicBezTo>
                    <a:pt x="1459230" y="60008"/>
                    <a:pt x="1460183" y="56197"/>
                    <a:pt x="1462088" y="53340"/>
                  </a:cubicBezTo>
                  <a:cubicBezTo>
                    <a:pt x="1463993" y="49530"/>
                    <a:pt x="1465898" y="46672"/>
                    <a:pt x="1468755" y="43815"/>
                  </a:cubicBezTo>
                  <a:cubicBezTo>
                    <a:pt x="1471613" y="40958"/>
                    <a:pt x="1475423" y="38100"/>
                    <a:pt x="1478280" y="37147"/>
                  </a:cubicBezTo>
                  <a:cubicBezTo>
                    <a:pt x="1481138" y="36195"/>
                    <a:pt x="1484948" y="35243"/>
                    <a:pt x="1489710" y="35243"/>
                  </a:cubicBezTo>
                  <a:cubicBezTo>
                    <a:pt x="1492568" y="35243"/>
                    <a:pt x="1494473" y="35243"/>
                    <a:pt x="1497330" y="36195"/>
                  </a:cubicBezTo>
                  <a:cubicBezTo>
                    <a:pt x="1499235" y="37147"/>
                    <a:pt x="1501140" y="38100"/>
                    <a:pt x="1503045" y="40005"/>
                  </a:cubicBezTo>
                  <a:cubicBezTo>
                    <a:pt x="1504950" y="41910"/>
                    <a:pt x="1505903" y="44768"/>
                    <a:pt x="1506855" y="47625"/>
                  </a:cubicBezTo>
                  <a:cubicBezTo>
                    <a:pt x="1507808" y="51435"/>
                    <a:pt x="1507808" y="55245"/>
                    <a:pt x="1507808" y="60960"/>
                  </a:cubicBezTo>
                  <a:lnTo>
                    <a:pt x="1507808" y="155258"/>
                  </a:lnTo>
                  <a:lnTo>
                    <a:pt x="1547813" y="155258"/>
                  </a:lnTo>
                  <a:lnTo>
                    <a:pt x="1547813" y="55245"/>
                  </a:lnTo>
                  <a:cubicBezTo>
                    <a:pt x="1547813" y="36195"/>
                    <a:pt x="1544003" y="22860"/>
                    <a:pt x="1536383" y="14288"/>
                  </a:cubicBezTo>
                  <a:cubicBezTo>
                    <a:pt x="1528763" y="5715"/>
                    <a:pt x="1517333" y="1905"/>
                    <a:pt x="1502093" y="1905"/>
                  </a:cubicBezTo>
                  <a:cubicBezTo>
                    <a:pt x="1492568" y="1905"/>
                    <a:pt x="1484948" y="3810"/>
                    <a:pt x="1477328" y="7620"/>
                  </a:cubicBezTo>
                  <a:cubicBezTo>
                    <a:pt x="1469708" y="11430"/>
                    <a:pt x="1462088" y="18098"/>
                    <a:pt x="1455420" y="27623"/>
                  </a:cubicBezTo>
                  <a:cubicBezTo>
                    <a:pt x="1452563" y="19050"/>
                    <a:pt x="1447800" y="12383"/>
                    <a:pt x="1441133" y="8573"/>
                  </a:cubicBezTo>
                  <a:cubicBezTo>
                    <a:pt x="1434465" y="4763"/>
                    <a:pt x="1425893" y="1905"/>
                    <a:pt x="1414463" y="1905"/>
                  </a:cubicBezTo>
                  <a:cubicBezTo>
                    <a:pt x="1405890" y="1905"/>
                    <a:pt x="1398270" y="3810"/>
                    <a:pt x="1390650" y="7620"/>
                  </a:cubicBezTo>
                  <a:cubicBezTo>
                    <a:pt x="1383030" y="11430"/>
                    <a:pt x="1376363" y="18098"/>
                    <a:pt x="1371600" y="25718"/>
                  </a:cubicBezTo>
                  <a:lnTo>
                    <a:pt x="1371600" y="5715"/>
                  </a:lnTo>
                  <a:lnTo>
                    <a:pt x="1332548" y="5715"/>
                  </a:lnTo>
                  <a:lnTo>
                    <a:pt x="1332548" y="155258"/>
                  </a:lnTo>
                  <a:close/>
                  <a:moveTo>
                    <a:pt x="1199198" y="116205"/>
                  </a:moveTo>
                  <a:cubicBezTo>
                    <a:pt x="1193483" y="108585"/>
                    <a:pt x="1190625" y="96203"/>
                    <a:pt x="1190625" y="80963"/>
                  </a:cubicBezTo>
                  <a:cubicBezTo>
                    <a:pt x="1190625" y="65723"/>
                    <a:pt x="1193483" y="54293"/>
                    <a:pt x="1199198" y="45720"/>
                  </a:cubicBezTo>
                  <a:cubicBezTo>
                    <a:pt x="1204913" y="37147"/>
                    <a:pt x="1213485" y="33338"/>
                    <a:pt x="1224915" y="33338"/>
                  </a:cubicBezTo>
                  <a:cubicBezTo>
                    <a:pt x="1236345" y="33338"/>
                    <a:pt x="1244918" y="37147"/>
                    <a:pt x="1250633" y="45720"/>
                  </a:cubicBezTo>
                  <a:cubicBezTo>
                    <a:pt x="1256348" y="54293"/>
                    <a:pt x="1259205" y="65723"/>
                    <a:pt x="1259205" y="80963"/>
                  </a:cubicBezTo>
                  <a:cubicBezTo>
                    <a:pt x="1259205" y="96203"/>
                    <a:pt x="1256348" y="107633"/>
                    <a:pt x="1250633" y="116205"/>
                  </a:cubicBezTo>
                  <a:cubicBezTo>
                    <a:pt x="1244918" y="124778"/>
                    <a:pt x="1236345" y="128588"/>
                    <a:pt x="1224915" y="128588"/>
                  </a:cubicBezTo>
                  <a:cubicBezTo>
                    <a:pt x="1213485" y="127635"/>
                    <a:pt x="1204913" y="123825"/>
                    <a:pt x="1199198" y="116205"/>
                  </a:cubicBezTo>
                  <a:moveTo>
                    <a:pt x="1256348" y="154305"/>
                  </a:moveTo>
                  <a:cubicBezTo>
                    <a:pt x="1265873" y="150495"/>
                    <a:pt x="1273493" y="145733"/>
                    <a:pt x="1280160" y="138113"/>
                  </a:cubicBezTo>
                  <a:cubicBezTo>
                    <a:pt x="1286828" y="131445"/>
                    <a:pt x="1291590" y="122873"/>
                    <a:pt x="1295400" y="113348"/>
                  </a:cubicBezTo>
                  <a:cubicBezTo>
                    <a:pt x="1299210" y="103823"/>
                    <a:pt x="1301115" y="92393"/>
                    <a:pt x="1301115" y="80010"/>
                  </a:cubicBezTo>
                  <a:cubicBezTo>
                    <a:pt x="1301115" y="67628"/>
                    <a:pt x="1299210" y="57150"/>
                    <a:pt x="1296353" y="46672"/>
                  </a:cubicBezTo>
                  <a:cubicBezTo>
                    <a:pt x="1293495" y="36195"/>
                    <a:pt x="1287780" y="28575"/>
                    <a:pt x="1281113" y="21908"/>
                  </a:cubicBezTo>
                  <a:cubicBezTo>
                    <a:pt x="1274445" y="15240"/>
                    <a:pt x="1266825" y="9525"/>
                    <a:pt x="1257300" y="6668"/>
                  </a:cubicBezTo>
                  <a:cubicBezTo>
                    <a:pt x="1247775" y="2858"/>
                    <a:pt x="1237298" y="953"/>
                    <a:pt x="1225868" y="953"/>
                  </a:cubicBezTo>
                  <a:cubicBezTo>
                    <a:pt x="1214438" y="953"/>
                    <a:pt x="1203960" y="2858"/>
                    <a:pt x="1194435" y="6668"/>
                  </a:cubicBezTo>
                  <a:cubicBezTo>
                    <a:pt x="1184910" y="10478"/>
                    <a:pt x="1177290" y="15240"/>
                    <a:pt x="1170623" y="21908"/>
                  </a:cubicBezTo>
                  <a:cubicBezTo>
                    <a:pt x="1163955" y="28575"/>
                    <a:pt x="1159193" y="37147"/>
                    <a:pt x="1155383" y="46672"/>
                  </a:cubicBezTo>
                  <a:cubicBezTo>
                    <a:pt x="1151573" y="56197"/>
                    <a:pt x="1149668" y="67628"/>
                    <a:pt x="1149668" y="80010"/>
                  </a:cubicBezTo>
                  <a:cubicBezTo>
                    <a:pt x="1149668" y="105728"/>
                    <a:pt x="1156335" y="124778"/>
                    <a:pt x="1169670" y="139065"/>
                  </a:cubicBezTo>
                  <a:cubicBezTo>
                    <a:pt x="1183005" y="152400"/>
                    <a:pt x="1201103" y="160020"/>
                    <a:pt x="1225868" y="160020"/>
                  </a:cubicBezTo>
                  <a:cubicBezTo>
                    <a:pt x="1236345" y="160020"/>
                    <a:pt x="1246823" y="158115"/>
                    <a:pt x="1256348" y="154305"/>
                  </a:cubicBezTo>
                  <a:moveTo>
                    <a:pt x="1086803" y="100965"/>
                  </a:moveTo>
                  <a:cubicBezTo>
                    <a:pt x="1085850" y="109538"/>
                    <a:pt x="1083945" y="116205"/>
                    <a:pt x="1079183" y="120968"/>
                  </a:cubicBezTo>
                  <a:cubicBezTo>
                    <a:pt x="1074420" y="125730"/>
                    <a:pt x="1068705" y="127635"/>
                    <a:pt x="1061085" y="127635"/>
                  </a:cubicBezTo>
                  <a:cubicBezTo>
                    <a:pt x="1055370" y="127635"/>
                    <a:pt x="1049655" y="126683"/>
                    <a:pt x="1045845" y="123825"/>
                  </a:cubicBezTo>
                  <a:cubicBezTo>
                    <a:pt x="1042035" y="120968"/>
                    <a:pt x="1038225" y="118110"/>
                    <a:pt x="1036320" y="113348"/>
                  </a:cubicBezTo>
                  <a:cubicBezTo>
                    <a:pt x="1034415" y="108585"/>
                    <a:pt x="1032510" y="103823"/>
                    <a:pt x="1031558" y="98108"/>
                  </a:cubicBezTo>
                  <a:cubicBezTo>
                    <a:pt x="1030605" y="92393"/>
                    <a:pt x="1029653" y="86678"/>
                    <a:pt x="1029653" y="80010"/>
                  </a:cubicBezTo>
                  <a:cubicBezTo>
                    <a:pt x="1029653" y="74295"/>
                    <a:pt x="1030605" y="67628"/>
                    <a:pt x="1031558" y="62865"/>
                  </a:cubicBezTo>
                  <a:cubicBezTo>
                    <a:pt x="1032510" y="57150"/>
                    <a:pt x="1034415" y="52388"/>
                    <a:pt x="1036320" y="47625"/>
                  </a:cubicBezTo>
                  <a:cubicBezTo>
                    <a:pt x="1038225" y="42863"/>
                    <a:pt x="1042035" y="40005"/>
                    <a:pt x="1045845" y="37147"/>
                  </a:cubicBezTo>
                  <a:cubicBezTo>
                    <a:pt x="1049655" y="34290"/>
                    <a:pt x="1054418" y="33338"/>
                    <a:pt x="1061085" y="33338"/>
                  </a:cubicBezTo>
                  <a:cubicBezTo>
                    <a:pt x="1069658" y="33338"/>
                    <a:pt x="1075373" y="35243"/>
                    <a:pt x="1079183" y="40005"/>
                  </a:cubicBezTo>
                  <a:cubicBezTo>
                    <a:pt x="1082993" y="44768"/>
                    <a:pt x="1084898" y="50483"/>
                    <a:pt x="1085850" y="58103"/>
                  </a:cubicBezTo>
                  <a:lnTo>
                    <a:pt x="1125855" y="52388"/>
                  </a:lnTo>
                  <a:cubicBezTo>
                    <a:pt x="1124903" y="44768"/>
                    <a:pt x="1122998" y="38100"/>
                    <a:pt x="1120140" y="31433"/>
                  </a:cubicBezTo>
                  <a:cubicBezTo>
                    <a:pt x="1117283" y="24765"/>
                    <a:pt x="1113473" y="20003"/>
                    <a:pt x="1107758" y="15240"/>
                  </a:cubicBezTo>
                  <a:cubicBezTo>
                    <a:pt x="1102995" y="10478"/>
                    <a:pt x="1096328" y="6668"/>
                    <a:pt x="1088708" y="4763"/>
                  </a:cubicBezTo>
                  <a:cubicBezTo>
                    <a:pt x="1081088" y="1905"/>
                    <a:pt x="1072515" y="953"/>
                    <a:pt x="1062038" y="953"/>
                  </a:cubicBezTo>
                  <a:cubicBezTo>
                    <a:pt x="1050608" y="953"/>
                    <a:pt x="1040130" y="2858"/>
                    <a:pt x="1030605" y="6668"/>
                  </a:cubicBezTo>
                  <a:cubicBezTo>
                    <a:pt x="1021080" y="10478"/>
                    <a:pt x="1013460" y="16193"/>
                    <a:pt x="1007745" y="22860"/>
                  </a:cubicBezTo>
                  <a:cubicBezTo>
                    <a:pt x="1001078" y="29528"/>
                    <a:pt x="996315" y="38100"/>
                    <a:pt x="993458" y="47625"/>
                  </a:cubicBezTo>
                  <a:cubicBezTo>
                    <a:pt x="990600" y="57150"/>
                    <a:pt x="988695" y="68580"/>
                    <a:pt x="988695" y="80010"/>
                  </a:cubicBezTo>
                  <a:cubicBezTo>
                    <a:pt x="988695" y="91440"/>
                    <a:pt x="989647" y="102870"/>
                    <a:pt x="992505" y="112395"/>
                  </a:cubicBezTo>
                  <a:cubicBezTo>
                    <a:pt x="995363" y="121920"/>
                    <a:pt x="1000125" y="130493"/>
                    <a:pt x="1005840" y="137160"/>
                  </a:cubicBezTo>
                  <a:cubicBezTo>
                    <a:pt x="1011555" y="143828"/>
                    <a:pt x="1019175" y="149543"/>
                    <a:pt x="1028700" y="153353"/>
                  </a:cubicBezTo>
                  <a:cubicBezTo>
                    <a:pt x="1038225" y="157163"/>
                    <a:pt x="1048703" y="159068"/>
                    <a:pt x="1061085" y="159068"/>
                  </a:cubicBezTo>
                  <a:cubicBezTo>
                    <a:pt x="1082993" y="159068"/>
                    <a:pt x="1099185" y="153353"/>
                    <a:pt x="1109663" y="142875"/>
                  </a:cubicBezTo>
                  <a:cubicBezTo>
                    <a:pt x="1120140" y="132398"/>
                    <a:pt x="1126808" y="118110"/>
                    <a:pt x="1127760" y="100013"/>
                  </a:cubicBezTo>
                  <a:lnTo>
                    <a:pt x="1086803" y="100013"/>
                  </a:lnTo>
                  <a:close/>
                  <a:moveTo>
                    <a:pt x="921068" y="155258"/>
                  </a:moveTo>
                  <a:lnTo>
                    <a:pt x="962025" y="155258"/>
                  </a:lnTo>
                  <a:lnTo>
                    <a:pt x="962025" y="109538"/>
                  </a:lnTo>
                  <a:lnTo>
                    <a:pt x="921068" y="109538"/>
                  </a:lnTo>
                  <a:lnTo>
                    <a:pt x="921068" y="155258"/>
                  </a:lnTo>
                  <a:close/>
                  <a:moveTo>
                    <a:pt x="671513" y="155258"/>
                  </a:moveTo>
                  <a:lnTo>
                    <a:pt x="711518" y="155258"/>
                  </a:lnTo>
                  <a:lnTo>
                    <a:pt x="711518" y="65723"/>
                  </a:lnTo>
                  <a:cubicBezTo>
                    <a:pt x="711518" y="60960"/>
                    <a:pt x="712470" y="57150"/>
                    <a:pt x="714375" y="53340"/>
                  </a:cubicBezTo>
                  <a:cubicBezTo>
                    <a:pt x="716280" y="49530"/>
                    <a:pt x="718185" y="46672"/>
                    <a:pt x="721043" y="43815"/>
                  </a:cubicBezTo>
                  <a:cubicBezTo>
                    <a:pt x="723900" y="40958"/>
                    <a:pt x="727710" y="38100"/>
                    <a:pt x="730568" y="37147"/>
                  </a:cubicBezTo>
                  <a:cubicBezTo>
                    <a:pt x="734378" y="36195"/>
                    <a:pt x="737235" y="35243"/>
                    <a:pt x="741998" y="35243"/>
                  </a:cubicBezTo>
                  <a:cubicBezTo>
                    <a:pt x="744855" y="35243"/>
                    <a:pt x="746760" y="35243"/>
                    <a:pt x="749618" y="36195"/>
                  </a:cubicBezTo>
                  <a:cubicBezTo>
                    <a:pt x="751523" y="37147"/>
                    <a:pt x="753428" y="38100"/>
                    <a:pt x="755333" y="40005"/>
                  </a:cubicBezTo>
                  <a:cubicBezTo>
                    <a:pt x="757238" y="41910"/>
                    <a:pt x="758190" y="44768"/>
                    <a:pt x="759143" y="47625"/>
                  </a:cubicBezTo>
                  <a:cubicBezTo>
                    <a:pt x="760095" y="51435"/>
                    <a:pt x="761048" y="55245"/>
                    <a:pt x="761048" y="60960"/>
                  </a:cubicBezTo>
                  <a:lnTo>
                    <a:pt x="761048" y="155258"/>
                  </a:lnTo>
                  <a:lnTo>
                    <a:pt x="801053" y="155258"/>
                  </a:lnTo>
                  <a:lnTo>
                    <a:pt x="801053" y="63818"/>
                  </a:lnTo>
                  <a:cubicBezTo>
                    <a:pt x="801053" y="60008"/>
                    <a:pt x="802005" y="56197"/>
                    <a:pt x="803910" y="53340"/>
                  </a:cubicBezTo>
                  <a:cubicBezTo>
                    <a:pt x="805815" y="49530"/>
                    <a:pt x="807720" y="46672"/>
                    <a:pt x="810578" y="43815"/>
                  </a:cubicBezTo>
                  <a:cubicBezTo>
                    <a:pt x="813435" y="40958"/>
                    <a:pt x="817245" y="38100"/>
                    <a:pt x="820103" y="37147"/>
                  </a:cubicBezTo>
                  <a:cubicBezTo>
                    <a:pt x="822960" y="36195"/>
                    <a:pt x="826770" y="35243"/>
                    <a:pt x="831533" y="35243"/>
                  </a:cubicBezTo>
                  <a:cubicBezTo>
                    <a:pt x="834390" y="35243"/>
                    <a:pt x="836295" y="35243"/>
                    <a:pt x="839153" y="36195"/>
                  </a:cubicBezTo>
                  <a:cubicBezTo>
                    <a:pt x="841058" y="37147"/>
                    <a:pt x="842963" y="38100"/>
                    <a:pt x="844868" y="40005"/>
                  </a:cubicBezTo>
                  <a:cubicBezTo>
                    <a:pt x="846772" y="41910"/>
                    <a:pt x="847725" y="44768"/>
                    <a:pt x="848678" y="47625"/>
                  </a:cubicBezTo>
                  <a:cubicBezTo>
                    <a:pt x="849630" y="51435"/>
                    <a:pt x="849630" y="55245"/>
                    <a:pt x="849630" y="60960"/>
                  </a:cubicBezTo>
                  <a:lnTo>
                    <a:pt x="849630" y="155258"/>
                  </a:lnTo>
                  <a:lnTo>
                    <a:pt x="889635" y="155258"/>
                  </a:lnTo>
                  <a:lnTo>
                    <a:pt x="889635" y="55245"/>
                  </a:lnTo>
                  <a:cubicBezTo>
                    <a:pt x="889635" y="36195"/>
                    <a:pt x="885825" y="22860"/>
                    <a:pt x="878205" y="14288"/>
                  </a:cubicBezTo>
                  <a:cubicBezTo>
                    <a:pt x="870585" y="5715"/>
                    <a:pt x="859155" y="1905"/>
                    <a:pt x="843915" y="1905"/>
                  </a:cubicBezTo>
                  <a:cubicBezTo>
                    <a:pt x="834390" y="1905"/>
                    <a:pt x="826770" y="3810"/>
                    <a:pt x="819150" y="7620"/>
                  </a:cubicBezTo>
                  <a:cubicBezTo>
                    <a:pt x="811530" y="11430"/>
                    <a:pt x="803910" y="18098"/>
                    <a:pt x="797243" y="27623"/>
                  </a:cubicBezTo>
                  <a:cubicBezTo>
                    <a:pt x="794385" y="19050"/>
                    <a:pt x="789623" y="12383"/>
                    <a:pt x="782955" y="8573"/>
                  </a:cubicBezTo>
                  <a:cubicBezTo>
                    <a:pt x="776288" y="4763"/>
                    <a:pt x="766763" y="1905"/>
                    <a:pt x="756285" y="1905"/>
                  </a:cubicBezTo>
                  <a:cubicBezTo>
                    <a:pt x="747713" y="1905"/>
                    <a:pt x="740093" y="3810"/>
                    <a:pt x="732473" y="7620"/>
                  </a:cubicBezTo>
                  <a:cubicBezTo>
                    <a:pt x="724853" y="11430"/>
                    <a:pt x="718185" y="18098"/>
                    <a:pt x="713423" y="25718"/>
                  </a:cubicBezTo>
                  <a:lnTo>
                    <a:pt x="713423" y="5715"/>
                  </a:lnTo>
                  <a:lnTo>
                    <a:pt x="674370" y="5715"/>
                  </a:lnTo>
                  <a:lnTo>
                    <a:pt x="674370" y="155258"/>
                  </a:lnTo>
                  <a:close/>
                  <a:moveTo>
                    <a:pt x="541973" y="116205"/>
                  </a:moveTo>
                  <a:cubicBezTo>
                    <a:pt x="536258" y="108585"/>
                    <a:pt x="533400" y="96203"/>
                    <a:pt x="533400" y="80963"/>
                  </a:cubicBezTo>
                  <a:cubicBezTo>
                    <a:pt x="533400" y="65723"/>
                    <a:pt x="536258" y="54293"/>
                    <a:pt x="541973" y="45720"/>
                  </a:cubicBezTo>
                  <a:cubicBezTo>
                    <a:pt x="547688" y="38100"/>
                    <a:pt x="556260" y="33338"/>
                    <a:pt x="567690" y="33338"/>
                  </a:cubicBezTo>
                  <a:cubicBezTo>
                    <a:pt x="579120" y="33338"/>
                    <a:pt x="587693" y="37147"/>
                    <a:pt x="593408" y="45720"/>
                  </a:cubicBezTo>
                  <a:cubicBezTo>
                    <a:pt x="599123" y="53340"/>
                    <a:pt x="601980" y="65723"/>
                    <a:pt x="601980" y="80963"/>
                  </a:cubicBezTo>
                  <a:cubicBezTo>
                    <a:pt x="601980" y="96203"/>
                    <a:pt x="599123" y="107633"/>
                    <a:pt x="593408" y="116205"/>
                  </a:cubicBezTo>
                  <a:cubicBezTo>
                    <a:pt x="587693" y="124778"/>
                    <a:pt x="579120" y="128588"/>
                    <a:pt x="567690" y="128588"/>
                  </a:cubicBezTo>
                  <a:cubicBezTo>
                    <a:pt x="555308" y="127635"/>
                    <a:pt x="546735" y="123825"/>
                    <a:pt x="541973" y="116205"/>
                  </a:cubicBezTo>
                  <a:moveTo>
                    <a:pt x="598170" y="154305"/>
                  </a:moveTo>
                  <a:cubicBezTo>
                    <a:pt x="607695" y="150495"/>
                    <a:pt x="615315" y="145733"/>
                    <a:pt x="621983" y="138113"/>
                  </a:cubicBezTo>
                  <a:cubicBezTo>
                    <a:pt x="628650" y="131445"/>
                    <a:pt x="633413" y="122873"/>
                    <a:pt x="637223" y="113348"/>
                  </a:cubicBezTo>
                  <a:cubicBezTo>
                    <a:pt x="641033" y="103823"/>
                    <a:pt x="642938" y="92393"/>
                    <a:pt x="642938" y="80010"/>
                  </a:cubicBezTo>
                  <a:cubicBezTo>
                    <a:pt x="642938" y="67628"/>
                    <a:pt x="641033" y="57150"/>
                    <a:pt x="638175" y="46672"/>
                  </a:cubicBezTo>
                  <a:cubicBezTo>
                    <a:pt x="635318" y="36195"/>
                    <a:pt x="629603" y="28575"/>
                    <a:pt x="622935" y="21908"/>
                  </a:cubicBezTo>
                  <a:cubicBezTo>
                    <a:pt x="616268" y="15240"/>
                    <a:pt x="608648" y="9525"/>
                    <a:pt x="599123" y="6668"/>
                  </a:cubicBezTo>
                  <a:cubicBezTo>
                    <a:pt x="589598" y="2858"/>
                    <a:pt x="579120" y="953"/>
                    <a:pt x="567690" y="953"/>
                  </a:cubicBezTo>
                  <a:cubicBezTo>
                    <a:pt x="556260" y="953"/>
                    <a:pt x="545783" y="2858"/>
                    <a:pt x="536258" y="6668"/>
                  </a:cubicBezTo>
                  <a:cubicBezTo>
                    <a:pt x="526733" y="10478"/>
                    <a:pt x="519113" y="15240"/>
                    <a:pt x="512445" y="21908"/>
                  </a:cubicBezTo>
                  <a:cubicBezTo>
                    <a:pt x="505778" y="28575"/>
                    <a:pt x="501015" y="37147"/>
                    <a:pt x="497205" y="46672"/>
                  </a:cubicBezTo>
                  <a:cubicBezTo>
                    <a:pt x="493395" y="56197"/>
                    <a:pt x="491490" y="67628"/>
                    <a:pt x="491490" y="80010"/>
                  </a:cubicBezTo>
                  <a:cubicBezTo>
                    <a:pt x="491490" y="105728"/>
                    <a:pt x="498158" y="124778"/>
                    <a:pt x="511492" y="139065"/>
                  </a:cubicBezTo>
                  <a:cubicBezTo>
                    <a:pt x="524828" y="152400"/>
                    <a:pt x="542925" y="160020"/>
                    <a:pt x="566738" y="160020"/>
                  </a:cubicBezTo>
                  <a:cubicBezTo>
                    <a:pt x="579120" y="160020"/>
                    <a:pt x="589598" y="158115"/>
                    <a:pt x="598170" y="154305"/>
                  </a:cubicBezTo>
                  <a:moveTo>
                    <a:pt x="429578" y="100965"/>
                  </a:moveTo>
                  <a:cubicBezTo>
                    <a:pt x="428625" y="109538"/>
                    <a:pt x="425767" y="116205"/>
                    <a:pt x="421958" y="120968"/>
                  </a:cubicBezTo>
                  <a:cubicBezTo>
                    <a:pt x="417195" y="125730"/>
                    <a:pt x="411480" y="127635"/>
                    <a:pt x="403860" y="127635"/>
                  </a:cubicBezTo>
                  <a:cubicBezTo>
                    <a:pt x="398145" y="127635"/>
                    <a:pt x="392430" y="126683"/>
                    <a:pt x="388620" y="123825"/>
                  </a:cubicBezTo>
                  <a:cubicBezTo>
                    <a:pt x="384810" y="120968"/>
                    <a:pt x="381000" y="118110"/>
                    <a:pt x="379095" y="113348"/>
                  </a:cubicBezTo>
                  <a:cubicBezTo>
                    <a:pt x="377190" y="108585"/>
                    <a:pt x="375285" y="103823"/>
                    <a:pt x="374333" y="98108"/>
                  </a:cubicBezTo>
                  <a:cubicBezTo>
                    <a:pt x="373380" y="92393"/>
                    <a:pt x="372428" y="86678"/>
                    <a:pt x="372428" y="80010"/>
                  </a:cubicBezTo>
                  <a:cubicBezTo>
                    <a:pt x="372428" y="74295"/>
                    <a:pt x="373380" y="67628"/>
                    <a:pt x="374333" y="62865"/>
                  </a:cubicBezTo>
                  <a:cubicBezTo>
                    <a:pt x="375285" y="57150"/>
                    <a:pt x="377190" y="52388"/>
                    <a:pt x="379095" y="47625"/>
                  </a:cubicBezTo>
                  <a:cubicBezTo>
                    <a:pt x="381000" y="42863"/>
                    <a:pt x="384810" y="40005"/>
                    <a:pt x="388620" y="37147"/>
                  </a:cubicBezTo>
                  <a:cubicBezTo>
                    <a:pt x="392430" y="34290"/>
                    <a:pt x="398145" y="33338"/>
                    <a:pt x="403860" y="33338"/>
                  </a:cubicBezTo>
                  <a:cubicBezTo>
                    <a:pt x="412433" y="33338"/>
                    <a:pt x="418148" y="35243"/>
                    <a:pt x="421958" y="40005"/>
                  </a:cubicBezTo>
                  <a:cubicBezTo>
                    <a:pt x="425767" y="44768"/>
                    <a:pt x="427673" y="50483"/>
                    <a:pt x="428625" y="58103"/>
                  </a:cubicBezTo>
                  <a:lnTo>
                    <a:pt x="468630" y="52388"/>
                  </a:lnTo>
                  <a:cubicBezTo>
                    <a:pt x="467678" y="44768"/>
                    <a:pt x="465773" y="38100"/>
                    <a:pt x="462915" y="31433"/>
                  </a:cubicBezTo>
                  <a:cubicBezTo>
                    <a:pt x="460058" y="24765"/>
                    <a:pt x="456248" y="20003"/>
                    <a:pt x="450533" y="15240"/>
                  </a:cubicBezTo>
                  <a:cubicBezTo>
                    <a:pt x="445770" y="10478"/>
                    <a:pt x="439103" y="6668"/>
                    <a:pt x="431483" y="4763"/>
                  </a:cubicBezTo>
                  <a:cubicBezTo>
                    <a:pt x="423863" y="1905"/>
                    <a:pt x="415290" y="953"/>
                    <a:pt x="404813" y="953"/>
                  </a:cubicBezTo>
                  <a:cubicBezTo>
                    <a:pt x="393383" y="953"/>
                    <a:pt x="382905" y="2858"/>
                    <a:pt x="373380" y="6668"/>
                  </a:cubicBezTo>
                  <a:cubicBezTo>
                    <a:pt x="363855" y="10478"/>
                    <a:pt x="356235" y="16193"/>
                    <a:pt x="350520" y="22860"/>
                  </a:cubicBezTo>
                  <a:cubicBezTo>
                    <a:pt x="343853" y="29528"/>
                    <a:pt x="339090" y="38100"/>
                    <a:pt x="336233" y="47625"/>
                  </a:cubicBezTo>
                  <a:cubicBezTo>
                    <a:pt x="333375" y="57150"/>
                    <a:pt x="331470" y="68580"/>
                    <a:pt x="331470" y="80010"/>
                  </a:cubicBezTo>
                  <a:cubicBezTo>
                    <a:pt x="331470" y="91440"/>
                    <a:pt x="333375" y="102870"/>
                    <a:pt x="336233" y="112395"/>
                  </a:cubicBezTo>
                  <a:cubicBezTo>
                    <a:pt x="339090" y="121920"/>
                    <a:pt x="343853" y="130493"/>
                    <a:pt x="349567" y="137160"/>
                  </a:cubicBezTo>
                  <a:cubicBezTo>
                    <a:pt x="355283" y="143828"/>
                    <a:pt x="362903" y="149543"/>
                    <a:pt x="372428" y="153353"/>
                  </a:cubicBezTo>
                  <a:cubicBezTo>
                    <a:pt x="381953" y="157163"/>
                    <a:pt x="392430" y="159068"/>
                    <a:pt x="404813" y="159068"/>
                  </a:cubicBezTo>
                  <a:cubicBezTo>
                    <a:pt x="426720" y="159068"/>
                    <a:pt x="442913" y="153353"/>
                    <a:pt x="453390" y="142875"/>
                  </a:cubicBezTo>
                  <a:cubicBezTo>
                    <a:pt x="463867" y="132398"/>
                    <a:pt x="470535" y="118110"/>
                    <a:pt x="471488" y="100013"/>
                  </a:cubicBezTo>
                  <a:lnTo>
                    <a:pt x="429578" y="100013"/>
                  </a:lnTo>
                  <a:close/>
                  <a:moveTo>
                    <a:pt x="203835" y="63818"/>
                  </a:moveTo>
                  <a:cubicBezTo>
                    <a:pt x="203835" y="59055"/>
                    <a:pt x="204788" y="55245"/>
                    <a:pt x="206692" y="51435"/>
                  </a:cubicBezTo>
                  <a:cubicBezTo>
                    <a:pt x="208598" y="47625"/>
                    <a:pt x="210502" y="43815"/>
                    <a:pt x="213360" y="40958"/>
                  </a:cubicBezTo>
                  <a:cubicBezTo>
                    <a:pt x="216217" y="38100"/>
                    <a:pt x="219075" y="35243"/>
                    <a:pt x="223838" y="34290"/>
                  </a:cubicBezTo>
                  <a:cubicBezTo>
                    <a:pt x="227648" y="32385"/>
                    <a:pt x="232410" y="31433"/>
                    <a:pt x="238125" y="31433"/>
                  </a:cubicBezTo>
                  <a:cubicBezTo>
                    <a:pt x="248602" y="31433"/>
                    <a:pt x="256223" y="34290"/>
                    <a:pt x="261938" y="40005"/>
                  </a:cubicBezTo>
                  <a:cubicBezTo>
                    <a:pt x="266700" y="45720"/>
                    <a:pt x="269558" y="53340"/>
                    <a:pt x="269558" y="63818"/>
                  </a:cubicBezTo>
                  <a:lnTo>
                    <a:pt x="203835" y="63818"/>
                  </a:lnTo>
                  <a:close/>
                  <a:moveTo>
                    <a:pt x="266700" y="108585"/>
                  </a:moveTo>
                  <a:cubicBezTo>
                    <a:pt x="263842" y="121920"/>
                    <a:pt x="254317" y="128588"/>
                    <a:pt x="239077" y="128588"/>
                  </a:cubicBezTo>
                  <a:cubicBezTo>
                    <a:pt x="227648" y="128588"/>
                    <a:pt x="219075" y="124778"/>
                    <a:pt x="213360" y="118110"/>
                  </a:cubicBezTo>
                  <a:cubicBezTo>
                    <a:pt x="207645" y="111443"/>
                    <a:pt x="204788" y="101918"/>
                    <a:pt x="203835" y="89535"/>
                  </a:cubicBezTo>
                  <a:lnTo>
                    <a:pt x="307658" y="89535"/>
                  </a:lnTo>
                  <a:lnTo>
                    <a:pt x="307658" y="73343"/>
                  </a:lnTo>
                  <a:cubicBezTo>
                    <a:pt x="307658" y="51435"/>
                    <a:pt x="301942" y="33338"/>
                    <a:pt x="290513" y="20003"/>
                  </a:cubicBezTo>
                  <a:cubicBezTo>
                    <a:pt x="279083" y="6668"/>
                    <a:pt x="261938" y="0"/>
                    <a:pt x="239077" y="0"/>
                  </a:cubicBezTo>
                  <a:cubicBezTo>
                    <a:pt x="227648" y="0"/>
                    <a:pt x="218123" y="1905"/>
                    <a:pt x="208598" y="5715"/>
                  </a:cubicBezTo>
                  <a:cubicBezTo>
                    <a:pt x="199073" y="9525"/>
                    <a:pt x="191452" y="14288"/>
                    <a:pt x="184785" y="20955"/>
                  </a:cubicBezTo>
                  <a:cubicBezTo>
                    <a:pt x="178118" y="27623"/>
                    <a:pt x="173355" y="36195"/>
                    <a:pt x="169545" y="45720"/>
                  </a:cubicBezTo>
                  <a:cubicBezTo>
                    <a:pt x="165735" y="55245"/>
                    <a:pt x="163830" y="66675"/>
                    <a:pt x="163830" y="79058"/>
                  </a:cubicBezTo>
                  <a:cubicBezTo>
                    <a:pt x="163830" y="103823"/>
                    <a:pt x="170498" y="123825"/>
                    <a:pt x="182880" y="137160"/>
                  </a:cubicBezTo>
                  <a:cubicBezTo>
                    <a:pt x="195263" y="150495"/>
                    <a:pt x="214313" y="158115"/>
                    <a:pt x="239077" y="158115"/>
                  </a:cubicBezTo>
                  <a:cubicBezTo>
                    <a:pt x="260033" y="158115"/>
                    <a:pt x="275273" y="153353"/>
                    <a:pt x="285750" y="144780"/>
                  </a:cubicBezTo>
                  <a:cubicBezTo>
                    <a:pt x="296228" y="136208"/>
                    <a:pt x="302895" y="123825"/>
                    <a:pt x="305753" y="106680"/>
                  </a:cubicBezTo>
                  <a:lnTo>
                    <a:pt x="266700" y="106680"/>
                  </a:lnTo>
                  <a:close/>
                  <a:moveTo>
                    <a:pt x="97155" y="96203"/>
                  </a:moveTo>
                  <a:cubicBezTo>
                    <a:pt x="97155" y="101918"/>
                    <a:pt x="96202" y="107633"/>
                    <a:pt x="93345" y="111443"/>
                  </a:cubicBezTo>
                  <a:cubicBezTo>
                    <a:pt x="91440" y="115253"/>
                    <a:pt x="88582" y="119063"/>
                    <a:pt x="84773" y="121920"/>
                  </a:cubicBezTo>
                  <a:cubicBezTo>
                    <a:pt x="78105" y="126683"/>
                    <a:pt x="69532" y="129540"/>
                    <a:pt x="60007" y="129540"/>
                  </a:cubicBezTo>
                  <a:cubicBezTo>
                    <a:pt x="54293" y="129540"/>
                    <a:pt x="49530" y="127635"/>
                    <a:pt x="45720" y="124778"/>
                  </a:cubicBezTo>
                  <a:cubicBezTo>
                    <a:pt x="41910" y="121920"/>
                    <a:pt x="40957" y="118110"/>
                    <a:pt x="40957" y="113348"/>
                  </a:cubicBezTo>
                  <a:cubicBezTo>
                    <a:pt x="40957" y="110490"/>
                    <a:pt x="40957" y="106680"/>
                    <a:pt x="42863" y="104775"/>
                  </a:cubicBezTo>
                  <a:cubicBezTo>
                    <a:pt x="43815" y="101918"/>
                    <a:pt x="45720" y="100013"/>
                    <a:pt x="48577" y="98108"/>
                  </a:cubicBezTo>
                  <a:cubicBezTo>
                    <a:pt x="51435" y="96203"/>
                    <a:pt x="55245" y="94298"/>
                    <a:pt x="60007" y="93345"/>
                  </a:cubicBezTo>
                  <a:cubicBezTo>
                    <a:pt x="64770" y="92393"/>
                    <a:pt x="72390" y="91440"/>
                    <a:pt x="80010" y="90488"/>
                  </a:cubicBezTo>
                  <a:lnTo>
                    <a:pt x="98107" y="89535"/>
                  </a:lnTo>
                  <a:lnTo>
                    <a:pt x="98107" y="96203"/>
                  </a:lnTo>
                  <a:close/>
                  <a:moveTo>
                    <a:pt x="98107" y="155258"/>
                  </a:moveTo>
                  <a:lnTo>
                    <a:pt x="136208" y="155258"/>
                  </a:lnTo>
                  <a:lnTo>
                    <a:pt x="136208" y="60960"/>
                  </a:lnTo>
                  <a:cubicBezTo>
                    <a:pt x="136208" y="51435"/>
                    <a:pt x="135255" y="43815"/>
                    <a:pt x="133350" y="36195"/>
                  </a:cubicBezTo>
                  <a:cubicBezTo>
                    <a:pt x="131445" y="28575"/>
                    <a:pt x="127635" y="22860"/>
                    <a:pt x="122873" y="17145"/>
                  </a:cubicBezTo>
                  <a:cubicBezTo>
                    <a:pt x="118110" y="12383"/>
                    <a:pt x="111443" y="7620"/>
                    <a:pt x="103823" y="5715"/>
                  </a:cubicBezTo>
                  <a:cubicBezTo>
                    <a:pt x="96202" y="3810"/>
                    <a:pt x="85725" y="1905"/>
                    <a:pt x="74295" y="1905"/>
                  </a:cubicBezTo>
                  <a:cubicBezTo>
                    <a:pt x="55245" y="1905"/>
                    <a:pt x="40957" y="5715"/>
                    <a:pt x="29527" y="12383"/>
                  </a:cubicBezTo>
                  <a:cubicBezTo>
                    <a:pt x="18098" y="19050"/>
                    <a:pt x="11430" y="30480"/>
                    <a:pt x="8573" y="46672"/>
                  </a:cubicBezTo>
                  <a:lnTo>
                    <a:pt x="44768" y="50483"/>
                  </a:lnTo>
                  <a:cubicBezTo>
                    <a:pt x="46673" y="38100"/>
                    <a:pt x="56198" y="32385"/>
                    <a:pt x="71438" y="32385"/>
                  </a:cubicBezTo>
                  <a:cubicBezTo>
                    <a:pt x="78105" y="32385"/>
                    <a:pt x="83820" y="34290"/>
                    <a:pt x="89535" y="37147"/>
                  </a:cubicBezTo>
                  <a:cubicBezTo>
                    <a:pt x="94298" y="40958"/>
                    <a:pt x="97155" y="46672"/>
                    <a:pt x="97155" y="56197"/>
                  </a:cubicBezTo>
                  <a:lnTo>
                    <a:pt x="97155" y="62865"/>
                  </a:lnTo>
                  <a:lnTo>
                    <a:pt x="78105" y="63818"/>
                  </a:lnTo>
                  <a:cubicBezTo>
                    <a:pt x="68580" y="63818"/>
                    <a:pt x="59055" y="64770"/>
                    <a:pt x="49530" y="66675"/>
                  </a:cubicBezTo>
                  <a:cubicBezTo>
                    <a:pt x="40005" y="68580"/>
                    <a:pt x="32385" y="70485"/>
                    <a:pt x="24765" y="74295"/>
                  </a:cubicBezTo>
                  <a:cubicBezTo>
                    <a:pt x="17145" y="78105"/>
                    <a:pt x="11430" y="82868"/>
                    <a:pt x="6668" y="89535"/>
                  </a:cubicBezTo>
                  <a:cubicBezTo>
                    <a:pt x="1905" y="96203"/>
                    <a:pt x="0" y="104775"/>
                    <a:pt x="0" y="114300"/>
                  </a:cubicBezTo>
                  <a:cubicBezTo>
                    <a:pt x="0" y="121920"/>
                    <a:pt x="952" y="128588"/>
                    <a:pt x="3810" y="134303"/>
                  </a:cubicBezTo>
                  <a:cubicBezTo>
                    <a:pt x="6668" y="140018"/>
                    <a:pt x="10477" y="144780"/>
                    <a:pt x="14288" y="148590"/>
                  </a:cubicBezTo>
                  <a:cubicBezTo>
                    <a:pt x="19050" y="152400"/>
                    <a:pt x="23813" y="155258"/>
                    <a:pt x="29527" y="156210"/>
                  </a:cubicBezTo>
                  <a:cubicBezTo>
                    <a:pt x="35243" y="157163"/>
                    <a:pt x="41910" y="159068"/>
                    <a:pt x="48577" y="159068"/>
                  </a:cubicBezTo>
                  <a:cubicBezTo>
                    <a:pt x="60007" y="159068"/>
                    <a:pt x="69532" y="157163"/>
                    <a:pt x="77152" y="152400"/>
                  </a:cubicBezTo>
                  <a:cubicBezTo>
                    <a:pt x="84773" y="147638"/>
                    <a:pt x="91440" y="142875"/>
                    <a:pt x="97155" y="136208"/>
                  </a:cubicBezTo>
                  <a:lnTo>
                    <a:pt x="97155" y="15525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4070"/>
            </a:p>
          </p:txBody>
        </p:sp>
      </p:grpSp>
    </p:spTree>
    <p:extLst>
      <p:ext uri="{BB962C8B-B14F-4D97-AF65-F5344CB8AC3E}">
        <p14:creationId xmlns:p14="http://schemas.microsoft.com/office/powerpoint/2010/main" val="40321044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1 Standard (5x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8595847-1813-6B47-B848-F94A612FF95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89531" y="3293121"/>
            <a:ext cx="5312489" cy="10827078"/>
          </a:xfrm>
        </p:spPr>
        <p:txBody>
          <a:bodyPr/>
          <a:lstStyle>
            <a:lvl1pPr>
              <a:defRPr sz="3618" b="0" i="0">
                <a:latin typeface="+mj-lt"/>
              </a:defRPr>
            </a:lvl1pPr>
            <a:lvl2pPr>
              <a:defRPr sz="3618" b="0" i="0">
                <a:latin typeface="+mj-lt"/>
              </a:defRPr>
            </a:lvl2pPr>
            <a:lvl3pPr>
              <a:defRPr sz="3618" b="0" i="0">
                <a:latin typeface="+mj-lt"/>
              </a:defRPr>
            </a:lvl3pPr>
            <a:lvl4pPr>
              <a:defRPr sz="3618"/>
            </a:lvl4pPr>
            <a:lvl5pPr>
              <a:defRPr sz="36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F339C6A-15DB-44F8-92FF-62FE64A6C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989" y="1001323"/>
            <a:ext cx="29745623" cy="1461332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5653" b="1" i="0" kern="1200" dirty="0">
                <a:solidFill>
                  <a:schemeClr val="tx1"/>
                </a:solidFill>
                <a:latin typeface="+mj-lt"/>
                <a:ea typeface="AECOM Sans Light" panose="020B04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l" defTabSz="2067733" rtl="0" eaLnBrk="1" latinLnBrk="0" hangingPunct="1">
              <a:lnSpc>
                <a:spcPct val="90000"/>
              </a:lnSpc>
              <a:spcBef>
                <a:spcPts val="2261"/>
              </a:spcBef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5C2DAFC-CA25-994C-BAE4-076D1C892088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793428" y="3293121"/>
            <a:ext cx="5312489" cy="10827078"/>
          </a:xfrm>
        </p:spPr>
        <p:txBody>
          <a:bodyPr/>
          <a:lstStyle>
            <a:lvl1pPr>
              <a:defRPr sz="3618" b="0" i="0">
                <a:latin typeface="+mj-lt"/>
              </a:defRPr>
            </a:lvl1pPr>
            <a:lvl2pPr>
              <a:defRPr sz="3618" b="0" i="0">
                <a:latin typeface="+mj-lt"/>
              </a:defRPr>
            </a:lvl2pPr>
            <a:lvl3pPr>
              <a:defRPr sz="3618" b="0" i="0">
                <a:latin typeface="+mj-lt"/>
              </a:defRPr>
            </a:lvl3pPr>
            <a:lvl4pPr>
              <a:defRPr sz="3618"/>
            </a:lvl4pPr>
            <a:lvl5pPr>
              <a:defRPr sz="36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740F8FA-6089-4844-93CB-4F895C822B46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12897325" y="3293121"/>
            <a:ext cx="5312489" cy="10827078"/>
          </a:xfrm>
        </p:spPr>
        <p:txBody>
          <a:bodyPr/>
          <a:lstStyle>
            <a:lvl1pPr>
              <a:defRPr sz="3618" b="0" i="0">
                <a:latin typeface="+mj-lt"/>
              </a:defRPr>
            </a:lvl1pPr>
            <a:lvl2pPr>
              <a:defRPr sz="3618" b="0" i="0">
                <a:latin typeface="+mj-lt"/>
              </a:defRPr>
            </a:lvl2pPr>
            <a:lvl3pPr>
              <a:defRPr sz="3618" b="0" i="0">
                <a:latin typeface="+mj-lt"/>
              </a:defRPr>
            </a:lvl3pPr>
            <a:lvl4pPr>
              <a:defRPr sz="3618"/>
            </a:lvl4pPr>
            <a:lvl5pPr>
              <a:defRPr sz="36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612BE59-4AF5-B24F-963B-449D3B73A4BB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19001222" y="3293121"/>
            <a:ext cx="5312489" cy="10827078"/>
          </a:xfrm>
        </p:spPr>
        <p:txBody>
          <a:bodyPr/>
          <a:lstStyle>
            <a:lvl1pPr>
              <a:defRPr sz="3618" b="0" i="0">
                <a:latin typeface="+mj-lt"/>
              </a:defRPr>
            </a:lvl1pPr>
            <a:lvl2pPr>
              <a:defRPr sz="3618" b="0" i="0">
                <a:latin typeface="+mj-lt"/>
              </a:defRPr>
            </a:lvl2pPr>
            <a:lvl3pPr>
              <a:defRPr sz="3618" b="0" i="0">
                <a:latin typeface="+mj-lt"/>
              </a:defRPr>
            </a:lvl3pPr>
            <a:lvl4pPr>
              <a:defRPr sz="3618"/>
            </a:lvl4pPr>
            <a:lvl5pPr>
              <a:defRPr sz="36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9FF9FFA-94BB-054F-A27E-28BA1B4F99C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5105124" y="3293121"/>
            <a:ext cx="5312489" cy="10827078"/>
          </a:xfrm>
        </p:spPr>
        <p:txBody>
          <a:bodyPr/>
          <a:lstStyle>
            <a:lvl1pPr>
              <a:defRPr sz="3618" b="0" i="0">
                <a:latin typeface="+mj-lt"/>
              </a:defRPr>
            </a:lvl1pPr>
            <a:lvl2pPr>
              <a:defRPr sz="3618" b="0" i="0">
                <a:latin typeface="+mj-lt"/>
              </a:defRPr>
            </a:lvl2pPr>
            <a:lvl3pPr>
              <a:defRPr sz="3618" b="0" i="0">
                <a:latin typeface="+mj-lt"/>
              </a:defRPr>
            </a:lvl3pPr>
            <a:lvl4pPr>
              <a:defRPr sz="3618"/>
            </a:lvl4pPr>
            <a:lvl5pPr>
              <a:defRPr sz="361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AE55DC-91D4-6146-BD4E-FA3E8A43BC5E}"/>
              </a:ext>
            </a:extLst>
          </p:cNvPr>
          <p:cNvCxnSpPr>
            <a:cxnSpLocks/>
          </p:cNvCxnSpPr>
          <p:nvPr userDrawn="1"/>
        </p:nvCxnSpPr>
        <p:spPr>
          <a:xfrm>
            <a:off x="671989" y="588741"/>
            <a:ext cx="11016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9E88783-0660-244D-8F64-5C824FE59344}"/>
              </a:ext>
            </a:extLst>
          </p:cNvPr>
          <p:cNvGrpSpPr/>
          <p:nvPr userDrawn="1"/>
        </p:nvGrpSpPr>
        <p:grpSpPr>
          <a:xfrm>
            <a:off x="27575830" y="14559997"/>
            <a:ext cx="2833688" cy="509763"/>
            <a:chOff x="292100" y="6413250"/>
            <a:chExt cx="1111250" cy="225425"/>
          </a:xfrm>
        </p:grpSpPr>
        <p:sp>
          <p:nvSpPr>
            <p:cNvPr id="19" name="Freeform: Shape 12">
              <a:extLst>
                <a:ext uri="{FF2B5EF4-FFF2-40B4-BE49-F238E27FC236}">
                  <a16:creationId xmlns:a16="http://schemas.microsoft.com/office/drawing/2014/main" id="{AB37709C-F95C-2C49-8331-373A6544F73E}"/>
                </a:ext>
              </a:extLst>
            </p:cNvPr>
            <p:cNvSpPr/>
            <p:nvPr userDrawn="1"/>
          </p:nvSpPr>
          <p:spPr>
            <a:xfrm>
              <a:off x="292100" y="6413250"/>
              <a:ext cx="225425" cy="225425"/>
            </a:xfrm>
            <a:custGeom>
              <a:avLst/>
              <a:gdLst>
                <a:gd name="connsiteX0" fmla="*/ 329565 w 342900"/>
                <a:gd name="connsiteY0" fmla="*/ 104775 h 342900"/>
                <a:gd name="connsiteX1" fmla="*/ 292418 w 342900"/>
                <a:gd name="connsiteY1" fmla="*/ 50483 h 342900"/>
                <a:gd name="connsiteX2" fmla="*/ 238125 w 342900"/>
                <a:gd name="connsiteY2" fmla="*/ 13335 h 342900"/>
                <a:gd name="connsiteX3" fmla="*/ 171450 w 342900"/>
                <a:gd name="connsiteY3" fmla="*/ 0 h 342900"/>
                <a:gd name="connsiteX4" fmla="*/ 104775 w 342900"/>
                <a:gd name="connsiteY4" fmla="*/ 13335 h 342900"/>
                <a:gd name="connsiteX5" fmla="*/ 50483 w 342900"/>
                <a:gd name="connsiteY5" fmla="*/ 50483 h 342900"/>
                <a:gd name="connsiteX6" fmla="*/ 13335 w 342900"/>
                <a:gd name="connsiteY6" fmla="*/ 104775 h 342900"/>
                <a:gd name="connsiteX7" fmla="*/ 0 w 342900"/>
                <a:gd name="connsiteY7" fmla="*/ 171450 h 342900"/>
                <a:gd name="connsiteX8" fmla="*/ 13335 w 342900"/>
                <a:gd name="connsiteY8" fmla="*/ 238125 h 342900"/>
                <a:gd name="connsiteX9" fmla="*/ 50483 w 342900"/>
                <a:gd name="connsiteY9" fmla="*/ 292418 h 342900"/>
                <a:gd name="connsiteX10" fmla="*/ 104775 w 342900"/>
                <a:gd name="connsiteY10" fmla="*/ 329565 h 342900"/>
                <a:gd name="connsiteX11" fmla="*/ 171450 w 342900"/>
                <a:gd name="connsiteY11" fmla="*/ 342900 h 342900"/>
                <a:gd name="connsiteX12" fmla="*/ 171450 w 342900"/>
                <a:gd name="connsiteY12" fmla="*/ 308610 h 342900"/>
                <a:gd name="connsiteX13" fmla="*/ 74295 w 342900"/>
                <a:gd name="connsiteY13" fmla="*/ 268605 h 342900"/>
                <a:gd name="connsiteX14" fmla="*/ 35243 w 342900"/>
                <a:gd name="connsiteY14" fmla="*/ 188595 h 342900"/>
                <a:gd name="connsiteX15" fmla="*/ 180975 w 342900"/>
                <a:gd name="connsiteY15" fmla="*/ 188595 h 342900"/>
                <a:gd name="connsiteX16" fmla="*/ 141923 w 342900"/>
                <a:gd name="connsiteY16" fmla="*/ 227648 h 342900"/>
                <a:gd name="connsiteX17" fmla="*/ 165735 w 342900"/>
                <a:gd name="connsiteY17" fmla="*/ 251460 h 342900"/>
                <a:gd name="connsiteX18" fmla="*/ 246698 w 342900"/>
                <a:gd name="connsiteY18" fmla="*/ 170498 h 342900"/>
                <a:gd name="connsiteX19" fmla="*/ 165735 w 342900"/>
                <a:gd name="connsiteY19" fmla="*/ 89535 h 342900"/>
                <a:gd name="connsiteX20" fmla="*/ 141923 w 342900"/>
                <a:gd name="connsiteY20" fmla="*/ 113348 h 342900"/>
                <a:gd name="connsiteX21" fmla="*/ 180975 w 342900"/>
                <a:gd name="connsiteY21" fmla="*/ 152400 h 342900"/>
                <a:gd name="connsiteX22" fmla="*/ 35243 w 342900"/>
                <a:gd name="connsiteY22" fmla="*/ 152400 h 342900"/>
                <a:gd name="connsiteX23" fmla="*/ 74295 w 342900"/>
                <a:gd name="connsiteY23" fmla="*/ 72390 h 342900"/>
                <a:gd name="connsiteX24" fmla="*/ 171450 w 342900"/>
                <a:gd name="connsiteY24" fmla="*/ 32385 h 342900"/>
                <a:gd name="connsiteX25" fmla="*/ 268605 w 342900"/>
                <a:gd name="connsiteY25" fmla="*/ 72390 h 342900"/>
                <a:gd name="connsiteX26" fmla="*/ 308610 w 342900"/>
                <a:gd name="connsiteY26" fmla="*/ 169545 h 342900"/>
                <a:gd name="connsiteX27" fmla="*/ 342900 w 342900"/>
                <a:gd name="connsiteY27" fmla="*/ 169545 h 342900"/>
                <a:gd name="connsiteX28" fmla="*/ 329565 w 342900"/>
                <a:gd name="connsiteY28" fmla="*/ 104775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2900" h="342900">
                  <a:moveTo>
                    <a:pt x="329565" y="104775"/>
                  </a:moveTo>
                  <a:cubicBezTo>
                    <a:pt x="320993" y="84773"/>
                    <a:pt x="308610" y="65723"/>
                    <a:pt x="292418" y="50483"/>
                  </a:cubicBezTo>
                  <a:cubicBezTo>
                    <a:pt x="276225" y="34290"/>
                    <a:pt x="258128" y="21908"/>
                    <a:pt x="238125" y="13335"/>
                  </a:cubicBezTo>
                  <a:cubicBezTo>
                    <a:pt x="217170" y="4763"/>
                    <a:pt x="194310" y="0"/>
                    <a:pt x="171450" y="0"/>
                  </a:cubicBezTo>
                  <a:cubicBezTo>
                    <a:pt x="148590" y="0"/>
                    <a:pt x="125730" y="4763"/>
                    <a:pt x="104775" y="13335"/>
                  </a:cubicBezTo>
                  <a:cubicBezTo>
                    <a:pt x="83820" y="21908"/>
                    <a:pt x="65723" y="34290"/>
                    <a:pt x="50483" y="50483"/>
                  </a:cubicBezTo>
                  <a:cubicBezTo>
                    <a:pt x="34290" y="66675"/>
                    <a:pt x="21908" y="84773"/>
                    <a:pt x="13335" y="104775"/>
                  </a:cubicBezTo>
                  <a:cubicBezTo>
                    <a:pt x="4763" y="125730"/>
                    <a:pt x="0" y="148590"/>
                    <a:pt x="0" y="171450"/>
                  </a:cubicBezTo>
                  <a:cubicBezTo>
                    <a:pt x="0" y="194310"/>
                    <a:pt x="4763" y="217170"/>
                    <a:pt x="13335" y="238125"/>
                  </a:cubicBezTo>
                  <a:cubicBezTo>
                    <a:pt x="21908" y="258128"/>
                    <a:pt x="34290" y="277178"/>
                    <a:pt x="50483" y="292418"/>
                  </a:cubicBezTo>
                  <a:cubicBezTo>
                    <a:pt x="66675" y="308610"/>
                    <a:pt x="84773" y="320993"/>
                    <a:pt x="104775" y="329565"/>
                  </a:cubicBezTo>
                  <a:cubicBezTo>
                    <a:pt x="125730" y="338138"/>
                    <a:pt x="148590" y="342900"/>
                    <a:pt x="171450" y="342900"/>
                  </a:cubicBezTo>
                  <a:lnTo>
                    <a:pt x="171450" y="308610"/>
                  </a:lnTo>
                  <a:cubicBezTo>
                    <a:pt x="135255" y="308610"/>
                    <a:pt x="100013" y="294323"/>
                    <a:pt x="74295" y="268605"/>
                  </a:cubicBezTo>
                  <a:cubicBezTo>
                    <a:pt x="52388" y="246698"/>
                    <a:pt x="39053" y="219075"/>
                    <a:pt x="35243" y="188595"/>
                  </a:cubicBezTo>
                  <a:lnTo>
                    <a:pt x="180975" y="188595"/>
                  </a:lnTo>
                  <a:lnTo>
                    <a:pt x="141923" y="227648"/>
                  </a:lnTo>
                  <a:lnTo>
                    <a:pt x="165735" y="251460"/>
                  </a:lnTo>
                  <a:lnTo>
                    <a:pt x="246698" y="170498"/>
                  </a:lnTo>
                  <a:lnTo>
                    <a:pt x="165735" y="89535"/>
                  </a:lnTo>
                  <a:lnTo>
                    <a:pt x="141923" y="113348"/>
                  </a:lnTo>
                  <a:lnTo>
                    <a:pt x="180975" y="152400"/>
                  </a:lnTo>
                  <a:lnTo>
                    <a:pt x="35243" y="152400"/>
                  </a:lnTo>
                  <a:cubicBezTo>
                    <a:pt x="39053" y="121920"/>
                    <a:pt x="52388" y="94298"/>
                    <a:pt x="74295" y="72390"/>
                  </a:cubicBezTo>
                  <a:cubicBezTo>
                    <a:pt x="100013" y="46673"/>
                    <a:pt x="134303" y="32385"/>
                    <a:pt x="171450" y="32385"/>
                  </a:cubicBezTo>
                  <a:cubicBezTo>
                    <a:pt x="207645" y="32385"/>
                    <a:pt x="242888" y="46673"/>
                    <a:pt x="268605" y="72390"/>
                  </a:cubicBezTo>
                  <a:cubicBezTo>
                    <a:pt x="294323" y="98108"/>
                    <a:pt x="308610" y="132398"/>
                    <a:pt x="308610" y="169545"/>
                  </a:cubicBezTo>
                  <a:lnTo>
                    <a:pt x="342900" y="169545"/>
                  </a:lnTo>
                  <a:cubicBezTo>
                    <a:pt x="342900" y="148590"/>
                    <a:pt x="338138" y="125730"/>
                    <a:pt x="329565" y="104775"/>
                  </a:cubicBezTo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4070">
                <a:latin typeface="+mj-lt"/>
              </a:endParaRPr>
            </a:p>
          </p:txBody>
        </p:sp>
        <p:sp>
          <p:nvSpPr>
            <p:cNvPr id="20" name="Freeform: Shape 13">
              <a:extLst>
                <a:ext uri="{FF2B5EF4-FFF2-40B4-BE49-F238E27FC236}">
                  <a16:creationId xmlns:a16="http://schemas.microsoft.com/office/drawing/2014/main" id="{5A6F4EA5-0597-264E-A886-EC151A7FCAC4}"/>
                </a:ext>
              </a:extLst>
            </p:cNvPr>
            <p:cNvSpPr/>
            <p:nvPr userDrawn="1"/>
          </p:nvSpPr>
          <p:spPr>
            <a:xfrm>
              <a:off x="590579" y="6484379"/>
              <a:ext cx="812771" cy="84028"/>
            </a:xfrm>
            <a:custGeom>
              <a:avLst/>
              <a:gdLst>
                <a:gd name="connsiteX0" fmla="*/ 1329690 w 1547812"/>
                <a:gd name="connsiteY0" fmla="*/ 155258 h 160020"/>
                <a:gd name="connsiteX1" fmla="*/ 1369695 w 1547812"/>
                <a:gd name="connsiteY1" fmla="*/ 155258 h 160020"/>
                <a:gd name="connsiteX2" fmla="*/ 1369695 w 1547812"/>
                <a:gd name="connsiteY2" fmla="*/ 65723 h 160020"/>
                <a:gd name="connsiteX3" fmla="*/ 1372553 w 1547812"/>
                <a:gd name="connsiteY3" fmla="*/ 53340 h 160020"/>
                <a:gd name="connsiteX4" fmla="*/ 1379220 w 1547812"/>
                <a:gd name="connsiteY4" fmla="*/ 43815 h 160020"/>
                <a:gd name="connsiteX5" fmla="*/ 1388745 w 1547812"/>
                <a:gd name="connsiteY5" fmla="*/ 37147 h 160020"/>
                <a:gd name="connsiteX6" fmla="*/ 1400175 w 1547812"/>
                <a:gd name="connsiteY6" fmla="*/ 35243 h 160020"/>
                <a:gd name="connsiteX7" fmla="*/ 1407795 w 1547812"/>
                <a:gd name="connsiteY7" fmla="*/ 36195 h 160020"/>
                <a:gd name="connsiteX8" fmla="*/ 1413510 w 1547812"/>
                <a:gd name="connsiteY8" fmla="*/ 40005 h 160020"/>
                <a:gd name="connsiteX9" fmla="*/ 1417320 w 1547812"/>
                <a:gd name="connsiteY9" fmla="*/ 47625 h 160020"/>
                <a:gd name="connsiteX10" fmla="*/ 1419225 w 1547812"/>
                <a:gd name="connsiteY10" fmla="*/ 60960 h 160020"/>
                <a:gd name="connsiteX11" fmla="*/ 1419225 w 1547812"/>
                <a:gd name="connsiteY11" fmla="*/ 155258 h 160020"/>
                <a:gd name="connsiteX12" fmla="*/ 1459230 w 1547812"/>
                <a:gd name="connsiteY12" fmla="*/ 155258 h 160020"/>
                <a:gd name="connsiteX13" fmla="*/ 1459230 w 1547812"/>
                <a:gd name="connsiteY13" fmla="*/ 63818 h 160020"/>
                <a:gd name="connsiteX14" fmla="*/ 1462088 w 1547812"/>
                <a:gd name="connsiteY14" fmla="*/ 53340 h 160020"/>
                <a:gd name="connsiteX15" fmla="*/ 1468755 w 1547812"/>
                <a:gd name="connsiteY15" fmla="*/ 43815 h 160020"/>
                <a:gd name="connsiteX16" fmla="*/ 1478280 w 1547812"/>
                <a:gd name="connsiteY16" fmla="*/ 37147 h 160020"/>
                <a:gd name="connsiteX17" fmla="*/ 1489710 w 1547812"/>
                <a:gd name="connsiteY17" fmla="*/ 35243 h 160020"/>
                <a:gd name="connsiteX18" fmla="*/ 1497330 w 1547812"/>
                <a:gd name="connsiteY18" fmla="*/ 36195 h 160020"/>
                <a:gd name="connsiteX19" fmla="*/ 1503045 w 1547812"/>
                <a:gd name="connsiteY19" fmla="*/ 40005 h 160020"/>
                <a:gd name="connsiteX20" fmla="*/ 1506855 w 1547812"/>
                <a:gd name="connsiteY20" fmla="*/ 47625 h 160020"/>
                <a:gd name="connsiteX21" fmla="*/ 1507808 w 1547812"/>
                <a:gd name="connsiteY21" fmla="*/ 60960 h 160020"/>
                <a:gd name="connsiteX22" fmla="*/ 1507808 w 1547812"/>
                <a:gd name="connsiteY22" fmla="*/ 155258 h 160020"/>
                <a:gd name="connsiteX23" fmla="*/ 1547813 w 1547812"/>
                <a:gd name="connsiteY23" fmla="*/ 155258 h 160020"/>
                <a:gd name="connsiteX24" fmla="*/ 1547813 w 1547812"/>
                <a:gd name="connsiteY24" fmla="*/ 55245 h 160020"/>
                <a:gd name="connsiteX25" fmla="*/ 1536383 w 1547812"/>
                <a:gd name="connsiteY25" fmla="*/ 14288 h 160020"/>
                <a:gd name="connsiteX26" fmla="*/ 1502093 w 1547812"/>
                <a:gd name="connsiteY26" fmla="*/ 1905 h 160020"/>
                <a:gd name="connsiteX27" fmla="*/ 1477328 w 1547812"/>
                <a:gd name="connsiteY27" fmla="*/ 7620 h 160020"/>
                <a:gd name="connsiteX28" fmla="*/ 1455420 w 1547812"/>
                <a:gd name="connsiteY28" fmla="*/ 27623 h 160020"/>
                <a:gd name="connsiteX29" fmla="*/ 1441133 w 1547812"/>
                <a:gd name="connsiteY29" fmla="*/ 8573 h 160020"/>
                <a:gd name="connsiteX30" fmla="*/ 1414463 w 1547812"/>
                <a:gd name="connsiteY30" fmla="*/ 1905 h 160020"/>
                <a:gd name="connsiteX31" fmla="*/ 1390650 w 1547812"/>
                <a:gd name="connsiteY31" fmla="*/ 7620 h 160020"/>
                <a:gd name="connsiteX32" fmla="*/ 1371600 w 1547812"/>
                <a:gd name="connsiteY32" fmla="*/ 25718 h 160020"/>
                <a:gd name="connsiteX33" fmla="*/ 1371600 w 1547812"/>
                <a:gd name="connsiteY33" fmla="*/ 5715 h 160020"/>
                <a:gd name="connsiteX34" fmla="*/ 1332548 w 1547812"/>
                <a:gd name="connsiteY34" fmla="*/ 5715 h 160020"/>
                <a:gd name="connsiteX35" fmla="*/ 1332548 w 1547812"/>
                <a:gd name="connsiteY35" fmla="*/ 155258 h 160020"/>
                <a:gd name="connsiteX36" fmla="*/ 1199198 w 1547812"/>
                <a:gd name="connsiteY36" fmla="*/ 116205 h 160020"/>
                <a:gd name="connsiteX37" fmla="*/ 1190625 w 1547812"/>
                <a:gd name="connsiteY37" fmla="*/ 80963 h 160020"/>
                <a:gd name="connsiteX38" fmla="*/ 1199198 w 1547812"/>
                <a:gd name="connsiteY38" fmla="*/ 45720 h 160020"/>
                <a:gd name="connsiteX39" fmla="*/ 1224915 w 1547812"/>
                <a:gd name="connsiteY39" fmla="*/ 33338 h 160020"/>
                <a:gd name="connsiteX40" fmla="*/ 1250633 w 1547812"/>
                <a:gd name="connsiteY40" fmla="*/ 45720 h 160020"/>
                <a:gd name="connsiteX41" fmla="*/ 1259205 w 1547812"/>
                <a:gd name="connsiteY41" fmla="*/ 80963 h 160020"/>
                <a:gd name="connsiteX42" fmla="*/ 1250633 w 1547812"/>
                <a:gd name="connsiteY42" fmla="*/ 116205 h 160020"/>
                <a:gd name="connsiteX43" fmla="*/ 1224915 w 1547812"/>
                <a:gd name="connsiteY43" fmla="*/ 128588 h 160020"/>
                <a:gd name="connsiteX44" fmla="*/ 1199198 w 1547812"/>
                <a:gd name="connsiteY44" fmla="*/ 116205 h 160020"/>
                <a:gd name="connsiteX45" fmla="*/ 1256348 w 1547812"/>
                <a:gd name="connsiteY45" fmla="*/ 154305 h 160020"/>
                <a:gd name="connsiteX46" fmla="*/ 1280160 w 1547812"/>
                <a:gd name="connsiteY46" fmla="*/ 138113 h 160020"/>
                <a:gd name="connsiteX47" fmla="*/ 1295400 w 1547812"/>
                <a:gd name="connsiteY47" fmla="*/ 113348 h 160020"/>
                <a:gd name="connsiteX48" fmla="*/ 1301115 w 1547812"/>
                <a:gd name="connsiteY48" fmla="*/ 80010 h 160020"/>
                <a:gd name="connsiteX49" fmla="*/ 1296353 w 1547812"/>
                <a:gd name="connsiteY49" fmla="*/ 46672 h 160020"/>
                <a:gd name="connsiteX50" fmla="*/ 1281113 w 1547812"/>
                <a:gd name="connsiteY50" fmla="*/ 21908 h 160020"/>
                <a:gd name="connsiteX51" fmla="*/ 1257300 w 1547812"/>
                <a:gd name="connsiteY51" fmla="*/ 6668 h 160020"/>
                <a:gd name="connsiteX52" fmla="*/ 1225868 w 1547812"/>
                <a:gd name="connsiteY52" fmla="*/ 953 h 160020"/>
                <a:gd name="connsiteX53" fmla="*/ 1194435 w 1547812"/>
                <a:gd name="connsiteY53" fmla="*/ 6668 h 160020"/>
                <a:gd name="connsiteX54" fmla="*/ 1170623 w 1547812"/>
                <a:gd name="connsiteY54" fmla="*/ 21908 h 160020"/>
                <a:gd name="connsiteX55" fmla="*/ 1155383 w 1547812"/>
                <a:gd name="connsiteY55" fmla="*/ 46672 h 160020"/>
                <a:gd name="connsiteX56" fmla="*/ 1149668 w 1547812"/>
                <a:gd name="connsiteY56" fmla="*/ 80010 h 160020"/>
                <a:gd name="connsiteX57" fmla="*/ 1169670 w 1547812"/>
                <a:gd name="connsiteY57" fmla="*/ 139065 h 160020"/>
                <a:gd name="connsiteX58" fmla="*/ 1225868 w 1547812"/>
                <a:gd name="connsiteY58" fmla="*/ 160020 h 160020"/>
                <a:gd name="connsiteX59" fmla="*/ 1256348 w 1547812"/>
                <a:gd name="connsiteY59" fmla="*/ 154305 h 160020"/>
                <a:gd name="connsiteX60" fmla="*/ 1086803 w 1547812"/>
                <a:gd name="connsiteY60" fmla="*/ 100965 h 160020"/>
                <a:gd name="connsiteX61" fmla="*/ 1079183 w 1547812"/>
                <a:gd name="connsiteY61" fmla="*/ 120968 h 160020"/>
                <a:gd name="connsiteX62" fmla="*/ 1061085 w 1547812"/>
                <a:gd name="connsiteY62" fmla="*/ 127635 h 160020"/>
                <a:gd name="connsiteX63" fmla="*/ 1045845 w 1547812"/>
                <a:gd name="connsiteY63" fmla="*/ 123825 h 160020"/>
                <a:gd name="connsiteX64" fmla="*/ 1036320 w 1547812"/>
                <a:gd name="connsiteY64" fmla="*/ 113348 h 160020"/>
                <a:gd name="connsiteX65" fmla="*/ 1031558 w 1547812"/>
                <a:gd name="connsiteY65" fmla="*/ 98108 h 160020"/>
                <a:gd name="connsiteX66" fmla="*/ 1029653 w 1547812"/>
                <a:gd name="connsiteY66" fmla="*/ 80010 h 160020"/>
                <a:gd name="connsiteX67" fmla="*/ 1031558 w 1547812"/>
                <a:gd name="connsiteY67" fmla="*/ 62865 h 160020"/>
                <a:gd name="connsiteX68" fmla="*/ 1036320 w 1547812"/>
                <a:gd name="connsiteY68" fmla="*/ 47625 h 160020"/>
                <a:gd name="connsiteX69" fmla="*/ 1045845 w 1547812"/>
                <a:gd name="connsiteY69" fmla="*/ 37147 h 160020"/>
                <a:gd name="connsiteX70" fmla="*/ 1061085 w 1547812"/>
                <a:gd name="connsiteY70" fmla="*/ 33338 h 160020"/>
                <a:gd name="connsiteX71" fmla="*/ 1079183 w 1547812"/>
                <a:gd name="connsiteY71" fmla="*/ 40005 h 160020"/>
                <a:gd name="connsiteX72" fmla="*/ 1085850 w 1547812"/>
                <a:gd name="connsiteY72" fmla="*/ 58103 h 160020"/>
                <a:gd name="connsiteX73" fmla="*/ 1125855 w 1547812"/>
                <a:gd name="connsiteY73" fmla="*/ 52388 h 160020"/>
                <a:gd name="connsiteX74" fmla="*/ 1120140 w 1547812"/>
                <a:gd name="connsiteY74" fmla="*/ 31433 h 160020"/>
                <a:gd name="connsiteX75" fmla="*/ 1107758 w 1547812"/>
                <a:gd name="connsiteY75" fmla="*/ 15240 h 160020"/>
                <a:gd name="connsiteX76" fmla="*/ 1088708 w 1547812"/>
                <a:gd name="connsiteY76" fmla="*/ 4763 h 160020"/>
                <a:gd name="connsiteX77" fmla="*/ 1062038 w 1547812"/>
                <a:gd name="connsiteY77" fmla="*/ 953 h 160020"/>
                <a:gd name="connsiteX78" fmla="*/ 1030605 w 1547812"/>
                <a:gd name="connsiteY78" fmla="*/ 6668 h 160020"/>
                <a:gd name="connsiteX79" fmla="*/ 1007745 w 1547812"/>
                <a:gd name="connsiteY79" fmla="*/ 22860 h 160020"/>
                <a:gd name="connsiteX80" fmla="*/ 993458 w 1547812"/>
                <a:gd name="connsiteY80" fmla="*/ 47625 h 160020"/>
                <a:gd name="connsiteX81" fmla="*/ 988695 w 1547812"/>
                <a:gd name="connsiteY81" fmla="*/ 80010 h 160020"/>
                <a:gd name="connsiteX82" fmla="*/ 992505 w 1547812"/>
                <a:gd name="connsiteY82" fmla="*/ 112395 h 160020"/>
                <a:gd name="connsiteX83" fmla="*/ 1005840 w 1547812"/>
                <a:gd name="connsiteY83" fmla="*/ 137160 h 160020"/>
                <a:gd name="connsiteX84" fmla="*/ 1028700 w 1547812"/>
                <a:gd name="connsiteY84" fmla="*/ 153353 h 160020"/>
                <a:gd name="connsiteX85" fmla="*/ 1061085 w 1547812"/>
                <a:gd name="connsiteY85" fmla="*/ 159068 h 160020"/>
                <a:gd name="connsiteX86" fmla="*/ 1109663 w 1547812"/>
                <a:gd name="connsiteY86" fmla="*/ 142875 h 160020"/>
                <a:gd name="connsiteX87" fmla="*/ 1127760 w 1547812"/>
                <a:gd name="connsiteY87" fmla="*/ 100013 h 160020"/>
                <a:gd name="connsiteX88" fmla="*/ 1086803 w 1547812"/>
                <a:gd name="connsiteY88" fmla="*/ 100013 h 160020"/>
                <a:gd name="connsiteX89" fmla="*/ 921068 w 1547812"/>
                <a:gd name="connsiteY89" fmla="*/ 155258 h 160020"/>
                <a:gd name="connsiteX90" fmla="*/ 962025 w 1547812"/>
                <a:gd name="connsiteY90" fmla="*/ 155258 h 160020"/>
                <a:gd name="connsiteX91" fmla="*/ 962025 w 1547812"/>
                <a:gd name="connsiteY91" fmla="*/ 109538 h 160020"/>
                <a:gd name="connsiteX92" fmla="*/ 921068 w 1547812"/>
                <a:gd name="connsiteY92" fmla="*/ 109538 h 160020"/>
                <a:gd name="connsiteX93" fmla="*/ 921068 w 1547812"/>
                <a:gd name="connsiteY93" fmla="*/ 155258 h 160020"/>
                <a:gd name="connsiteX94" fmla="*/ 671513 w 1547812"/>
                <a:gd name="connsiteY94" fmla="*/ 155258 h 160020"/>
                <a:gd name="connsiteX95" fmla="*/ 711518 w 1547812"/>
                <a:gd name="connsiteY95" fmla="*/ 155258 h 160020"/>
                <a:gd name="connsiteX96" fmla="*/ 711518 w 1547812"/>
                <a:gd name="connsiteY96" fmla="*/ 65723 h 160020"/>
                <a:gd name="connsiteX97" fmla="*/ 714375 w 1547812"/>
                <a:gd name="connsiteY97" fmla="*/ 53340 h 160020"/>
                <a:gd name="connsiteX98" fmla="*/ 721043 w 1547812"/>
                <a:gd name="connsiteY98" fmla="*/ 43815 h 160020"/>
                <a:gd name="connsiteX99" fmla="*/ 730568 w 1547812"/>
                <a:gd name="connsiteY99" fmla="*/ 37147 h 160020"/>
                <a:gd name="connsiteX100" fmla="*/ 741998 w 1547812"/>
                <a:gd name="connsiteY100" fmla="*/ 35243 h 160020"/>
                <a:gd name="connsiteX101" fmla="*/ 749618 w 1547812"/>
                <a:gd name="connsiteY101" fmla="*/ 36195 h 160020"/>
                <a:gd name="connsiteX102" fmla="*/ 755333 w 1547812"/>
                <a:gd name="connsiteY102" fmla="*/ 40005 h 160020"/>
                <a:gd name="connsiteX103" fmla="*/ 759143 w 1547812"/>
                <a:gd name="connsiteY103" fmla="*/ 47625 h 160020"/>
                <a:gd name="connsiteX104" fmla="*/ 761048 w 1547812"/>
                <a:gd name="connsiteY104" fmla="*/ 60960 h 160020"/>
                <a:gd name="connsiteX105" fmla="*/ 761048 w 1547812"/>
                <a:gd name="connsiteY105" fmla="*/ 155258 h 160020"/>
                <a:gd name="connsiteX106" fmla="*/ 801053 w 1547812"/>
                <a:gd name="connsiteY106" fmla="*/ 155258 h 160020"/>
                <a:gd name="connsiteX107" fmla="*/ 801053 w 1547812"/>
                <a:gd name="connsiteY107" fmla="*/ 63818 h 160020"/>
                <a:gd name="connsiteX108" fmla="*/ 803910 w 1547812"/>
                <a:gd name="connsiteY108" fmla="*/ 53340 h 160020"/>
                <a:gd name="connsiteX109" fmla="*/ 810578 w 1547812"/>
                <a:gd name="connsiteY109" fmla="*/ 43815 h 160020"/>
                <a:gd name="connsiteX110" fmla="*/ 820103 w 1547812"/>
                <a:gd name="connsiteY110" fmla="*/ 37147 h 160020"/>
                <a:gd name="connsiteX111" fmla="*/ 831533 w 1547812"/>
                <a:gd name="connsiteY111" fmla="*/ 35243 h 160020"/>
                <a:gd name="connsiteX112" fmla="*/ 839153 w 1547812"/>
                <a:gd name="connsiteY112" fmla="*/ 36195 h 160020"/>
                <a:gd name="connsiteX113" fmla="*/ 844868 w 1547812"/>
                <a:gd name="connsiteY113" fmla="*/ 40005 h 160020"/>
                <a:gd name="connsiteX114" fmla="*/ 848678 w 1547812"/>
                <a:gd name="connsiteY114" fmla="*/ 47625 h 160020"/>
                <a:gd name="connsiteX115" fmla="*/ 849630 w 1547812"/>
                <a:gd name="connsiteY115" fmla="*/ 60960 h 160020"/>
                <a:gd name="connsiteX116" fmla="*/ 849630 w 1547812"/>
                <a:gd name="connsiteY116" fmla="*/ 155258 h 160020"/>
                <a:gd name="connsiteX117" fmla="*/ 889635 w 1547812"/>
                <a:gd name="connsiteY117" fmla="*/ 155258 h 160020"/>
                <a:gd name="connsiteX118" fmla="*/ 889635 w 1547812"/>
                <a:gd name="connsiteY118" fmla="*/ 55245 h 160020"/>
                <a:gd name="connsiteX119" fmla="*/ 878205 w 1547812"/>
                <a:gd name="connsiteY119" fmla="*/ 14288 h 160020"/>
                <a:gd name="connsiteX120" fmla="*/ 843915 w 1547812"/>
                <a:gd name="connsiteY120" fmla="*/ 1905 h 160020"/>
                <a:gd name="connsiteX121" fmla="*/ 819150 w 1547812"/>
                <a:gd name="connsiteY121" fmla="*/ 7620 h 160020"/>
                <a:gd name="connsiteX122" fmla="*/ 797243 w 1547812"/>
                <a:gd name="connsiteY122" fmla="*/ 27623 h 160020"/>
                <a:gd name="connsiteX123" fmla="*/ 782955 w 1547812"/>
                <a:gd name="connsiteY123" fmla="*/ 8573 h 160020"/>
                <a:gd name="connsiteX124" fmla="*/ 756285 w 1547812"/>
                <a:gd name="connsiteY124" fmla="*/ 1905 h 160020"/>
                <a:gd name="connsiteX125" fmla="*/ 732473 w 1547812"/>
                <a:gd name="connsiteY125" fmla="*/ 7620 h 160020"/>
                <a:gd name="connsiteX126" fmla="*/ 713423 w 1547812"/>
                <a:gd name="connsiteY126" fmla="*/ 25718 h 160020"/>
                <a:gd name="connsiteX127" fmla="*/ 713423 w 1547812"/>
                <a:gd name="connsiteY127" fmla="*/ 5715 h 160020"/>
                <a:gd name="connsiteX128" fmla="*/ 674370 w 1547812"/>
                <a:gd name="connsiteY128" fmla="*/ 5715 h 160020"/>
                <a:gd name="connsiteX129" fmla="*/ 674370 w 1547812"/>
                <a:gd name="connsiteY129" fmla="*/ 155258 h 160020"/>
                <a:gd name="connsiteX130" fmla="*/ 541973 w 1547812"/>
                <a:gd name="connsiteY130" fmla="*/ 116205 h 160020"/>
                <a:gd name="connsiteX131" fmla="*/ 533400 w 1547812"/>
                <a:gd name="connsiteY131" fmla="*/ 80963 h 160020"/>
                <a:gd name="connsiteX132" fmla="*/ 541973 w 1547812"/>
                <a:gd name="connsiteY132" fmla="*/ 45720 h 160020"/>
                <a:gd name="connsiteX133" fmla="*/ 567690 w 1547812"/>
                <a:gd name="connsiteY133" fmla="*/ 33338 h 160020"/>
                <a:gd name="connsiteX134" fmla="*/ 593408 w 1547812"/>
                <a:gd name="connsiteY134" fmla="*/ 45720 h 160020"/>
                <a:gd name="connsiteX135" fmla="*/ 601980 w 1547812"/>
                <a:gd name="connsiteY135" fmla="*/ 80963 h 160020"/>
                <a:gd name="connsiteX136" fmla="*/ 593408 w 1547812"/>
                <a:gd name="connsiteY136" fmla="*/ 116205 h 160020"/>
                <a:gd name="connsiteX137" fmla="*/ 567690 w 1547812"/>
                <a:gd name="connsiteY137" fmla="*/ 128588 h 160020"/>
                <a:gd name="connsiteX138" fmla="*/ 541973 w 1547812"/>
                <a:gd name="connsiteY138" fmla="*/ 116205 h 160020"/>
                <a:gd name="connsiteX139" fmla="*/ 598170 w 1547812"/>
                <a:gd name="connsiteY139" fmla="*/ 154305 h 160020"/>
                <a:gd name="connsiteX140" fmla="*/ 621983 w 1547812"/>
                <a:gd name="connsiteY140" fmla="*/ 138113 h 160020"/>
                <a:gd name="connsiteX141" fmla="*/ 637223 w 1547812"/>
                <a:gd name="connsiteY141" fmla="*/ 113348 h 160020"/>
                <a:gd name="connsiteX142" fmla="*/ 642938 w 1547812"/>
                <a:gd name="connsiteY142" fmla="*/ 80010 h 160020"/>
                <a:gd name="connsiteX143" fmla="*/ 638175 w 1547812"/>
                <a:gd name="connsiteY143" fmla="*/ 46672 h 160020"/>
                <a:gd name="connsiteX144" fmla="*/ 622935 w 1547812"/>
                <a:gd name="connsiteY144" fmla="*/ 21908 h 160020"/>
                <a:gd name="connsiteX145" fmla="*/ 599123 w 1547812"/>
                <a:gd name="connsiteY145" fmla="*/ 6668 h 160020"/>
                <a:gd name="connsiteX146" fmla="*/ 567690 w 1547812"/>
                <a:gd name="connsiteY146" fmla="*/ 953 h 160020"/>
                <a:gd name="connsiteX147" fmla="*/ 536258 w 1547812"/>
                <a:gd name="connsiteY147" fmla="*/ 6668 h 160020"/>
                <a:gd name="connsiteX148" fmla="*/ 512445 w 1547812"/>
                <a:gd name="connsiteY148" fmla="*/ 21908 h 160020"/>
                <a:gd name="connsiteX149" fmla="*/ 497205 w 1547812"/>
                <a:gd name="connsiteY149" fmla="*/ 46672 h 160020"/>
                <a:gd name="connsiteX150" fmla="*/ 491490 w 1547812"/>
                <a:gd name="connsiteY150" fmla="*/ 80010 h 160020"/>
                <a:gd name="connsiteX151" fmla="*/ 511492 w 1547812"/>
                <a:gd name="connsiteY151" fmla="*/ 139065 h 160020"/>
                <a:gd name="connsiteX152" fmla="*/ 566738 w 1547812"/>
                <a:gd name="connsiteY152" fmla="*/ 160020 h 160020"/>
                <a:gd name="connsiteX153" fmla="*/ 598170 w 1547812"/>
                <a:gd name="connsiteY153" fmla="*/ 154305 h 160020"/>
                <a:gd name="connsiteX154" fmla="*/ 429578 w 1547812"/>
                <a:gd name="connsiteY154" fmla="*/ 100965 h 160020"/>
                <a:gd name="connsiteX155" fmla="*/ 421958 w 1547812"/>
                <a:gd name="connsiteY155" fmla="*/ 120968 h 160020"/>
                <a:gd name="connsiteX156" fmla="*/ 403860 w 1547812"/>
                <a:gd name="connsiteY156" fmla="*/ 127635 h 160020"/>
                <a:gd name="connsiteX157" fmla="*/ 388620 w 1547812"/>
                <a:gd name="connsiteY157" fmla="*/ 123825 h 160020"/>
                <a:gd name="connsiteX158" fmla="*/ 379095 w 1547812"/>
                <a:gd name="connsiteY158" fmla="*/ 113348 h 160020"/>
                <a:gd name="connsiteX159" fmla="*/ 374333 w 1547812"/>
                <a:gd name="connsiteY159" fmla="*/ 98108 h 160020"/>
                <a:gd name="connsiteX160" fmla="*/ 372428 w 1547812"/>
                <a:gd name="connsiteY160" fmla="*/ 80010 h 160020"/>
                <a:gd name="connsiteX161" fmla="*/ 374333 w 1547812"/>
                <a:gd name="connsiteY161" fmla="*/ 62865 h 160020"/>
                <a:gd name="connsiteX162" fmla="*/ 379095 w 1547812"/>
                <a:gd name="connsiteY162" fmla="*/ 47625 h 160020"/>
                <a:gd name="connsiteX163" fmla="*/ 388620 w 1547812"/>
                <a:gd name="connsiteY163" fmla="*/ 37147 h 160020"/>
                <a:gd name="connsiteX164" fmla="*/ 403860 w 1547812"/>
                <a:gd name="connsiteY164" fmla="*/ 33338 h 160020"/>
                <a:gd name="connsiteX165" fmla="*/ 421958 w 1547812"/>
                <a:gd name="connsiteY165" fmla="*/ 40005 h 160020"/>
                <a:gd name="connsiteX166" fmla="*/ 428625 w 1547812"/>
                <a:gd name="connsiteY166" fmla="*/ 58103 h 160020"/>
                <a:gd name="connsiteX167" fmla="*/ 468630 w 1547812"/>
                <a:gd name="connsiteY167" fmla="*/ 52388 h 160020"/>
                <a:gd name="connsiteX168" fmla="*/ 462915 w 1547812"/>
                <a:gd name="connsiteY168" fmla="*/ 31433 h 160020"/>
                <a:gd name="connsiteX169" fmla="*/ 450533 w 1547812"/>
                <a:gd name="connsiteY169" fmla="*/ 15240 h 160020"/>
                <a:gd name="connsiteX170" fmla="*/ 431483 w 1547812"/>
                <a:gd name="connsiteY170" fmla="*/ 4763 h 160020"/>
                <a:gd name="connsiteX171" fmla="*/ 404813 w 1547812"/>
                <a:gd name="connsiteY171" fmla="*/ 953 h 160020"/>
                <a:gd name="connsiteX172" fmla="*/ 373380 w 1547812"/>
                <a:gd name="connsiteY172" fmla="*/ 6668 h 160020"/>
                <a:gd name="connsiteX173" fmla="*/ 350520 w 1547812"/>
                <a:gd name="connsiteY173" fmla="*/ 22860 h 160020"/>
                <a:gd name="connsiteX174" fmla="*/ 336233 w 1547812"/>
                <a:gd name="connsiteY174" fmla="*/ 47625 h 160020"/>
                <a:gd name="connsiteX175" fmla="*/ 331470 w 1547812"/>
                <a:gd name="connsiteY175" fmla="*/ 80010 h 160020"/>
                <a:gd name="connsiteX176" fmla="*/ 336233 w 1547812"/>
                <a:gd name="connsiteY176" fmla="*/ 112395 h 160020"/>
                <a:gd name="connsiteX177" fmla="*/ 349567 w 1547812"/>
                <a:gd name="connsiteY177" fmla="*/ 137160 h 160020"/>
                <a:gd name="connsiteX178" fmla="*/ 372428 w 1547812"/>
                <a:gd name="connsiteY178" fmla="*/ 153353 h 160020"/>
                <a:gd name="connsiteX179" fmla="*/ 404813 w 1547812"/>
                <a:gd name="connsiteY179" fmla="*/ 159068 h 160020"/>
                <a:gd name="connsiteX180" fmla="*/ 453390 w 1547812"/>
                <a:gd name="connsiteY180" fmla="*/ 142875 h 160020"/>
                <a:gd name="connsiteX181" fmla="*/ 471488 w 1547812"/>
                <a:gd name="connsiteY181" fmla="*/ 100013 h 160020"/>
                <a:gd name="connsiteX182" fmla="*/ 429578 w 1547812"/>
                <a:gd name="connsiteY182" fmla="*/ 100013 h 160020"/>
                <a:gd name="connsiteX183" fmla="*/ 203835 w 1547812"/>
                <a:gd name="connsiteY183" fmla="*/ 63818 h 160020"/>
                <a:gd name="connsiteX184" fmla="*/ 206692 w 1547812"/>
                <a:gd name="connsiteY184" fmla="*/ 51435 h 160020"/>
                <a:gd name="connsiteX185" fmla="*/ 213360 w 1547812"/>
                <a:gd name="connsiteY185" fmla="*/ 40958 h 160020"/>
                <a:gd name="connsiteX186" fmla="*/ 223838 w 1547812"/>
                <a:gd name="connsiteY186" fmla="*/ 34290 h 160020"/>
                <a:gd name="connsiteX187" fmla="*/ 238125 w 1547812"/>
                <a:gd name="connsiteY187" fmla="*/ 31433 h 160020"/>
                <a:gd name="connsiteX188" fmla="*/ 261938 w 1547812"/>
                <a:gd name="connsiteY188" fmla="*/ 40005 h 160020"/>
                <a:gd name="connsiteX189" fmla="*/ 269558 w 1547812"/>
                <a:gd name="connsiteY189" fmla="*/ 63818 h 160020"/>
                <a:gd name="connsiteX190" fmla="*/ 203835 w 1547812"/>
                <a:gd name="connsiteY190" fmla="*/ 63818 h 160020"/>
                <a:gd name="connsiteX191" fmla="*/ 266700 w 1547812"/>
                <a:gd name="connsiteY191" fmla="*/ 108585 h 160020"/>
                <a:gd name="connsiteX192" fmla="*/ 239077 w 1547812"/>
                <a:gd name="connsiteY192" fmla="*/ 128588 h 160020"/>
                <a:gd name="connsiteX193" fmla="*/ 213360 w 1547812"/>
                <a:gd name="connsiteY193" fmla="*/ 118110 h 160020"/>
                <a:gd name="connsiteX194" fmla="*/ 203835 w 1547812"/>
                <a:gd name="connsiteY194" fmla="*/ 89535 h 160020"/>
                <a:gd name="connsiteX195" fmla="*/ 307658 w 1547812"/>
                <a:gd name="connsiteY195" fmla="*/ 89535 h 160020"/>
                <a:gd name="connsiteX196" fmla="*/ 307658 w 1547812"/>
                <a:gd name="connsiteY196" fmla="*/ 73343 h 160020"/>
                <a:gd name="connsiteX197" fmla="*/ 290513 w 1547812"/>
                <a:gd name="connsiteY197" fmla="*/ 20003 h 160020"/>
                <a:gd name="connsiteX198" fmla="*/ 239077 w 1547812"/>
                <a:gd name="connsiteY198" fmla="*/ 0 h 160020"/>
                <a:gd name="connsiteX199" fmla="*/ 208598 w 1547812"/>
                <a:gd name="connsiteY199" fmla="*/ 5715 h 160020"/>
                <a:gd name="connsiteX200" fmla="*/ 184785 w 1547812"/>
                <a:gd name="connsiteY200" fmla="*/ 20955 h 160020"/>
                <a:gd name="connsiteX201" fmla="*/ 169545 w 1547812"/>
                <a:gd name="connsiteY201" fmla="*/ 45720 h 160020"/>
                <a:gd name="connsiteX202" fmla="*/ 163830 w 1547812"/>
                <a:gd name="connsiteY202" fmla="*/ 79058 h 160020"/>
                <a:gd name="connsiteX203" fmla="*/ 182880 w 1547812"/>
                <a:gd name="connsiteY203" fmla="*/ 137160 h 160020"/>
                <a:gd name="connsiteX204" fmla="*/ 239077 w 1547812"/>
                <a:gd name="connsiteY204" fmla="*/ 158115 h 160020"/>
                <a:gd name="connsiteX205" fmla="*/ 285750 w 1547812"/>
                <a:gd name="connsiteY205" fmla="*/ 144780 h 160020"/>
                <a:gd name="connsiteX206" fmla="*/ 305753 w 1547812"/>
                <a:gd name="connsiteY206" fmla="*/ 106680 h 160020"/>
                <a:gd name="connsiteX207" fmla="*/ 266700 w 1547812"/>
                <a:gd name="connsiteY207" fmla="*/ 106680 h 160020"/>
                <a:gd name="connsiteX208" fmla="*/ 97155 w 1547812"/>
                <a:gd name="connsiteY208" fmla="*/ 96203 h 160020"/>
                <a:gd name="connsiteX209" fmla="*/ 93345 w 1547812"/>
                <a:gd name="connsiteY209" fmla="*/ 111443 h 160020"/>
                <a:gd name="connsiteX210" fmla="*/ 84773 w 1547812"/>
                <a:gd name="connsiteY210" fmla="*/ 121920 h 160020"/>
                <a:gd name="connsiteX211" fmla="*/ 60007 w 1547812"/>
                <a:gd name="connsiteY211" fmla="*/ 129540 h 160020"/>
                <a:gd name="connsiteX212" fmla="*/ 45720 w 1547812"/>
                <a:gd name="connsiteY212" fmla="*/ 124778 h 160020"/>
                <a:gd name="connsiteX213" fmla="*/ 40957 w 1547812"/>
                <a:gd name="connsiteY213" fmla="*/ 113348 h 160020"/>
                <a:gd name="connsiteX214" fmla="*/ 42863 w 1547812"/>
                <a:gd name="connsiteY214" fmla="*/ 104775 h 160020"/>
                <a:gd name="connsiteX215" fmla="*/ 48577 w 1547812"/>
                <a:gd name="connsiteY215" fmla="*/ 98108 h 160020"/>
                <a:gd name="connsiteX216" fmla="*/ 60007 w 1547812"/>
                <a:gd name="connsiteY216" fmla="*/ 93345 h 160020"/>
                <a:gd name="connsiteX217" fmla="*/ 80010 w 1547812"/>
                <a:gd name="connsiteY217" fmla="*/ 90488 h 160020"/>
                <a:gd name="connsiteX218" fmla="*/ 98107 w 1547812"/>
                <a:gd name="connsiteY218" fmla="*/ 89535 h 160020"/>
                <a:gd name="connsiteX219" fmla="*/ 98107 w 1547812"/>
                <a:gd name="connsiteY219" fmla="*/ 96203 h 160020"/>
                <a:gd name="connsiteX220" fmla="*/ 98107 w 1547812"/>
                <a:gd name="connsiteY220" fmla="*/ 155258 h 160020"/>
                <a:gd name="connsiteX221" fmla="*/ 136208 w 1547812"/>
                <a:gd name="connsiteY221" fmla="*/ 155258 h 160020"/>
                <a:gd name="connsiteX222" fmla="*/ 136208 w 1547812"/>
                <a:gd name="connsiteY222" fmla="*/ 60960 h 160020"/>
                <a:gd name="connsiteX223" fmla="*/ 133350 w 1547812"/>
                <a:gd name="connsiteY223" fmla="*/ 36195 h 160020"/>
                <a:gd name="connsiteX224" fmla="*/ 122873 w 1547812"/>
                <a:gd name="connsiteY224" fmla="*/ 17145 h 160020"/>
                <a:gd name="connsiteX225" fmla="*/ 103823 w 1547812"/>
                <a:gd name="connsiteY225" fmla="*/ 5715 h 160020"/>
                <a:gd name="connsiteX226" fmla="*/ 74295 w 1547812"/>
                <a:gd name="connsiteY226" fmla="*/ 1905 h 160020"/>
                <a:gd name="connsiteX227" fmla="*/ 29527 w 1547812"/>
                <a:gd name="connsiteY227" fmla="*/ 12383 h 160020"/>
                <a:gd name="connsiteX228" fmla="*/ 8573 w 1547812"/>
                <a:gd name="connsiteY228" fmla="*/ 46672 h 160020"/>
                <a:gd name="connsiteX229" fmla="*/ 44768 w 1547812"/>
                <a:gd name="connsiteY229" fmla="*/ 50483 h 160020"/>
                <a:gd name="connsiteX230" fmla="*/ 71438 w 1547812"/>
                <a:gd name="connsiteY230" fmla="*/ 32385 h 160020"/>
                <a:gd name="connsiteX231" fmla="*/ 89535 w 1547812"/>
                <a:gd name="connsiteY231" fmla="*/ 37147 h 160020"/>
                <a:gd name="connsiteX232" fmla="*/ 97155 w 1547812"/>
                <a:gd name="connsiteY232" fmla="*/ 56197 h 160020"/>
                <a:gd name="connsiteX233" fmla="*/ 97155 w 1547812"/>
                <a:gd name="connsiteY233" fmla="*/ 62865 h 160020"/>
                <a:gd name="connsiteX234" fmla="*/ 78105 w 1547812"/>
                <a:gd name="connsiteY234" fmla="*/ 63818 h 160020"/>
                <a:gd name="connsiteX235" fmla="*/ 49530 w 1547812"/>
                <a:gd name="connsiteY235" fmla="*/ 66675 h 160020"/>
                <a:gd name="connsiteX236" fmla="*/ 24765 w 1547812"/>
                <a:gd name="connsiteY236" fmla="*/ 74295 h 160020"/>
                <a:gd name="connsiteX237" fmla="*/ 6668 w 1547812"/>
                <a:gd name="connsiteY237" fmla="*/ 89535 h 160020"/>
                <a:gd name="connsiteX238" fmla="*/ 0 w 1547812"/>
                <a:gd name="connsiteY238" fmla="*/ 114300 h 160020"/>
                <a:gd name="connsiteX239" fmla="*/ 3810 w 1547812"/>
                <a:gd name="connsiteY239" fmla="*/ 134303 h 160020"/>
                <a:gd name="connsiteX240" fmla="*/ 14288 w 1547812"/>
                <a:gd name="connsiteY240" fmla="*/ 148590 h 160020"/>
                <a:gd name="connsiteX241" fmla="*/ 29527 w 1547812"/>
                <a:gd name="connsiteY241" fmla="*/ 156210 h 160020"/>
                <a:gd name="connsiteX242" fmla="*/ 48577 w 1547812"/>
                <a:gd name="connsiteY242" fmla="*/ 159068 h 160020"/>
                <a:gd name="connsiteX243" fmla="*/ 77152 w 1547812"/>
                <a:gd name="connsiteY243" fmla="*/ 152400 h 160020"/>
                <a:gd name="connsiteX244" fmla="*/ 97155 w 1547812"/>
                <a:gd name="connsiteY244" fmla="*/ 136208 h 160020"/>
                <a:gd name="connsiteX245" fmla="*/ 97155 w 1547812"/>
                <a:gd name="connsiteY245" fmla="*/ 155258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1547812" h="160020">
                  <a:moveTo>
                    <a:pt x="1329690" y="155258"/>
                  </a:moveTo>
                  <a:lnTo>
                    <a:pt x="1369695" y="155258"/>
                  </a:lnTo>
                  <a:lnTo>
                    <a:pt x="1369695" y="65723"/>
                  </a:lnTo>
                  <a:cubicBezTo>
                    <a:pt x="1369695" y="60960"/>
                    <a:pt x="1370648" y="57150"/>
                    <a:pt x="1372553" y="53340"/>
                  </a:cubicBezTo>
                  <a:cubicBezTo>
                    <a:pt x="1374458" y="49530"/>
                    <a:pt x="1376363" y="46672"/>
                    <a:pt x="1379220" y="43815"/>
                  </a:cubicBezTo>
                  <a:cubicBezTo>
                    <a:pt x="1382078" y="40958"/>
                    <a:pt x="1385888" y="38100"/>
                    <a:pt x="1388745" y="37147"/>
                  </a:cubicBezTo>
                  <a:cubicBezTo>
                    <a:pt x="1392555" y="36195"/>
                    <a:pt x="1395413" y="35243"/>
                    <a:pt x="1400175" y="35243"/>
                  </a:cubicBezTo>
                  <a:cubicBezTo>
                    <a:pt x="1403033" y="35243"/>
                    <a:pt x="1404938" y="35243"/>
                    <a:pt x="1407795" y="36195"/>
                  </a:cubicBezTo>
                  <a:cubicBezTo>
                    <a:pt x="1409700" y="37147"/>
                    <a:pt x="1411605" y="38100"/>
                    <a:pt x="1413510" y="40005"/>
                  </a:cubicBezTo>
                  <a:cubicBezTo>
                    <a:pt x="1415415" y="41910"/>
                    <a:pt x="1416368" y="44768"/>
                    <a:pt x="1417320" y="47625"/>
                  </a:cubicBezTo>
                  <a:cubicBezTo>
                    <a:pt x="1418273" y="51435"/>
                    <a:pt x="1419225" y="55245"/>
                    <a:pt x="1419225" y="60960"/>
                  </a:cubicBezTo>
                  <a:lnTo>
                    <a:pt x="1419225" y="155258"/>
                  </a:lnTo>
                  <a:lnTo>
                    <a:pt x="1459230" y="155258"/>
                  </a:lnTo>
                  <a:lnTo>
                    <a:pt x="1459230" y="63818"/>
                  </a:lnTo>
                  <a:cubicBezTo>
                    <a:pt x="1459230" y="60008"/>
                    <a:pt x="1460183" y="56197"/>
                    <a:pt x="1462088" y="53340"/>
                  </a:cubicBezTo>
                  <a:cubicBezTo>
                    <a:pt x="1463993" y="49530"/>
                    <a:pt x="1465898" y="46672"/>
                    <a:pt x="1468755" y="43815"/>
                  </a:cubicBezTo>
                  <a:cubicBezTo>
                    <a:pt x="1471613" y="40958"/>
                    <a:pt x="1475423" y="38100"/>
                    <a:pt x="1478280" y="37147"/>
                  </a:cubicBezTo>
                  <a:cubicBezTo>
                    <a:pt x="1481138" y="36195"/>
                    <a:pt x="1484948" y="35243"/>
                    <a:pt x="1489710" y="35243"/>
                  </a:cubicBezTo>
                  <a:cubicBezTo>
                    <a:pt x="1492568" y="35243"/>
                    <a:pt x="1494473" y="35243"/>
                    <a:pt x="1497330" y="36195"/>
                  </a:cubicBezTo>
                  <a:cubicBezTo>
                    <a:pt x="1499235" y="37147"/>
                    <a:pt x="1501140" y="38100"/>
                    <a:pt x="1503045" y="40005"/>
                  </a:cubicBezTo>
                  <a:cubicBezTo>
                    <a:pt x="1504950" y="41910"/>
                    <a:pt x="1505903" y="44768"/>
                    <a:pt x="1506855" y="47625"/>
                  </a:cubicBezTo>
                  <a:cubicBezTo>
                    <a:pt x="1507808" y="51435"/>
                    <a:pt x="1507808" y="55245"/>
                    <a:pt x="1507808" y="60960"/>
                  </a:cubicBezTo>
                  <a:lnTo>
                    <a:pt x="1507808" y="155258"/>
                  </a:lnTo>
                  <a:lnTo>
                    <a:pt x="1547813" y="155258"/>
                  </a:lnTo>
                  <a:lnTo>
                    <a:pt x="1547813" y="55245"/>
                  </a:lnTo>
                  <a:cubicBezTo>
                    <a:pt x="1547813" y="36195"/>
                    <a:pt x="1544003" y="22860"/>
                    <a:pt x="1536383" y="14288"/>
                  </a:cubicBezTo>
                  <a:cubicBezTo>
                    <a:pt x="1528763" y="5715"/>
                    <a:pt x="1517333" y="1905"/>
                    <a:pt x="1502093" y="1905"/>
                  </a:cubicBezTo>
                  <a:cubicBezTo>
                    <a:pt x="1492568" y="1905"/>
                    <a:pt x="1484948" y="3810"/>
                    <a:pt x="1477328" y="7620"/>
                  </a:cubicBezTo>
                  <a:cubicBezTo>
                    <a:pt x="1469708" y="11430"/>
                    <a:pt x="1462088" y="18098"/>
                    <a:pt x="1455420" y="27623"/>
                  </a:cubicBezTo>
                  <a:cubicBezTo>
                    <a:pt x="1452563" y="19050"/>
                    <a:pt x="1447800" y="12383"/>
                    <a:pt x="1441133" y="8573"/>
                  </a:cubicBezTo>
                  <a:cubicBezTo>
                    <a:pt x="1434465" y="4763"/>
                    <a:pt x="1425893" y="1905"/>
                    <a:pt x="1414463" y="1905"/>
                  </a:cubicBezTo>
                  <a:cubicBezTo>
                    <a:pt x="1405890" y="1905"/>
                    <a:pt x="1398270" y="3810"/>
                    <a:pt x="1390650" y="7620"/>
                  </a:cubicBezTo>
                  <a:cubicBezTo>
                    <a:pt x="1383030" y="11430"/>
                    <a:pt x="1376363" y="18098"/>
                    <a:pt x="1371600" y="25718"/>
                  </a:cubicBezTo>
                  <a:lnTo>
                    <a:pt x="1371600" y="5715"/>
                  </a:lnTo>
                  <a:lnTo>
                    <a:pt x="1332548" y="5715"/>
                  </a:lnTo>
                  <a:lnTo>
                    <a:pt x="1332548" y="155258"/>
                  </a:lnTo>
                  <a:close/>
                  <a:moveTo>
                    <a:pt x="1199198" y="116205"/>
                  </a:moveTo>
                  <a:cubicBezTo>
                    <a:pt x="1193483" y="108585"/>
                    <a:pt x="1190625" y="96203"/>
                    <a:pt x="1190625" y="80963"/>
                  </a:cubicBezTo>
                  <a:cubicBezTo>
                    <a:pt x="1190625" y="65723"/>
                    <a:pt x="1193483" y="54293"/>
                    <a:pt x="1199198" y="45720"/>
                  </a:cubicBezTo>
                  <a:cubicBezTo>
                    <a:pt x="1204913" y="37147"/>
                    <a:pt x="1213485" y="33338"/>
                    <a:pt x="1224915" y="33338"/>
                  </a:cubicBezTo>
                  <a:cubicBezTo>
                    <a:pt x="1236345" y="33338"/>
                    <a:pt x="1244918" y="37147"/>
                    <a:pt x="1250633" y="45720"/>
                  </a:cubicBezTo>
                  <a:cubicBezTo>
                    <a:pt x="1256348" y="54293"/>
                    <a:pt x="1259205" y="65723"/>
                    <a:pt x="1259205" y="80963"/>
                  </a:cubicBezTo>
                  <a:cubicBezTo>
                    <a:pt x="1259205" y="96203"/>
                    <a:pt x="1256348" y="107633"/>
                    <a:pt x="1250633" y="116205"/>
                  </a:cubicBezTo>
                  <a:cubicBezTo>
                    <a:pt x="1244918" y="124778"/>
                    <a:pt x="1236345" y="128588"/>
                    <a:pt x="1224915" y="128588"/>
                  </a:cubicBezTo>
                  <a:cubicBezTo>
                    <a:pt x="1213485" y="127635"/>
                    <a:pt x="1204913" y="123825"/>
                    <a:pt x="1199198" y="116205"/>
                  </a:cubicBezTo>
                  <a:moveTo>
                    <a:pt x="1256348" y="154305"/>
                  </a:moveTo>
                  <a:cubicBezTo>
                    <a:pt x="1265873" y="150495"/>
                    <a:pt x="1273493" y="145733"/>
                    <a:pt x="1280160" y="138113"/>
                  </a:cubicBezTo>
                  <a:cubicBezTo>
                    <a:pt x="1286828" y="131445"/>
                    <a:pt x="1291590" y="122873"/>
                    <a:pt x="1295400" y="113348"/>
                  </a:cubicBezTo>
                  <a:cubicBezTo>
                    <a:pt x="1299210" y="103823"/>
                    <a:pt x="1301115" y="92393"/>
                    <a:pt x="1301115" y="80010"/>
                  </a:cubicBezTo>
                  <a:cubicBezTo>
                    <a:pt x="1301115" y="67628"/>
                    <a:pt x="1299210" y="57150"/>
                    <a:pt x="1296353" y="46672"/>
                  </a:cubicBezTo>
                  <a:cubicBezTo>
                    <a:pt x="1293495" y="36195"/>
                    <a:pt x="1287780" y="28575"/>
                    <a:pt x="1281113" y="21908"/>
                  </a:cubicBezTo>
                  <a:cubicBezTo>
                    <a:pt x="1274445" y="15240"/>
                    <a:pt x="1266825" y="9525"/>
                    <a:pt x="1257300" y="6668"/>
                  </a:cubicBezTo>
                  <a:cubicBezTo>
                    <a:pt x="1247775" y="2858"/>
                    <a:pt x="1237298" y="953"/>
                    <a:pt x="1225868" y="953"/>
                  </a:cubicBezTo>
                  <a:cubicBezTo>
                    <a:pt x="1214438" y="953"/>
                    <a:pt x="1203960" y="2858"/>
                    <a:pt x="1194435" y="6668"/>
                  </a:cubicBezTo>
                  <a:cubicBezTo>
                    <a:pt x="1184910" y="10478"/>
                    <a:pt x="1177290" y="15240"/>
                    <a:pt x="1170623" y="21908"/>
                  </a:cubicBezTo>
                  <a:cubicBezTo>
                    <a:pt x="1163955" y="28575"/>
                    <a:pt x="1159193" y="37147"/>
                    <a:pt x="1155383" y="46672"/>
                  </a:cubicBezTo>
                  <a:cubicBezTo>
                    <a:pt x="1151573" y="56197"/>
                    <a:pt x="1149668" y="67628"/>
                    <a:pt x="1149668" y="80010"/>
                  </a:cubicBezTo>
                  <a:cubicBezTo>
                    <a:pt x="1149668" y="105728"/>
                    <a:pt x="1156335" y="124778"/>
                    <a:pt x="1169670" y="139065"/>
                  </a:cubicBezTo>
                  <a:cubicBezTo>
                    <a:pt x="1183005" y="152400"/>
                    <a:pt x="1201103" y="160020"/>
                    <a:pt x="1225868" y="160020"/>
                  </a:cubicBezTo>
                  <a:cubicBezTo>
                    <a:pt x="1236345" y="160020"/>
                    <a:pt x="1246823" y="158115"/>
                    <a:pt x="1256348" y="154305"/>
                  </a:cubicBezTo>
                  <a:moveTo>
                    <a:pt x="1086803" y="100965"/>
                  </a:moveTo>
                  <a:cubicBezTo>
                    <a:pt x="1085850" y="109538"/>
                    <a:pt x="1083945" y="116205"/>
                    <a:pt x="1079183" y="120968"/>
                  </a:cubicBezTo>
                  <a:cubicBezTo>
                    <a:pt x="1074420" y="125730"/>
                    <a:pt x="1068705" y="127635"/>
                    <a:pt x="1061085" y="127635"/>
                  </a:cubicBezTo>
                  <a:cubicBezTo>
                    <a:pt x="1055370" y="127635"/>
                    <a:pt x="1049655" y="126683"/>
                    <a:pt x="1045845" y="123825"/>
                  </a:cubicBezTo>
                  <a:cubicBezTo>
                    <a:pt x="1042035" y="120968"/>
                    <a:pt x="1038225" y="118110"/>
                    <a:pt x="1036320" y="113348"/>
                  </a:cubicBezTo>
                  <a:cubicBezTo>
                    <a:pt x="1034415" y="108585"/>
                    <a:pt x="1032510" y="103823"/>
                    <a:pt x="1031558" y="98108"/>
                  </a:cubicBezTo>
                  <a:cubicBezTo>
                    <a:pt x="1030605" y="92393"/>
                    <a:pt x="1029653" y="86678"/>
                    <a:pt x="1029653" y="80010"/>
                  </a:cubicBezTo>
                  <a:cubicBezTo>
                    <a:pt x="1029653" y="74295"/>
                    <a:pt x="1030605" y="67628"/>
                    <a:pt x="1031558" y="62865"/>
                  </a:cubicBezTo>
                  <a:cubicBezTo>
                    <a:pt x="1032510" y="57150"/>
                    <a:pt x="1034415" y="52388"/>
                    <a:pt x="1036320" y="47625"/>
                  </a:cubicBezTo>
                  <a:cubicBezTo>
                    <a:pt x="1038225" y="42863"/>
                    <a:pt x="1042035" y="40005"/>
                    <a:pt x="1045845" y="37147"/>
                  </a:cubicBezTo>
                  <a:cubicBezTo>
                    <a:pt x="1049655" y="34290"/>
                    <a:pt x="1054418" y="33338"/>
                    <a:pt x="1061085" y="33338"/>
                  </a:cubicBezTo>
                  <a:cubicBezTo>
                    <a:pt x="1069658" y="33338"/>
                    <a:pt x="1075373" y="35243"/>
                    <a:pt x="1079183" y="40005"/>
                  </a:cubicBezTo>
                  <a:cubicBezTo>
                    <a:pt x="1082993" y="44768"/>
                    <a:pt x="1084898" y="50483"/>
                    <a:pt x="1085850" y="58103"/>
                  </a:cubicBezTo>
                  <a:lnTo>
                    <a:pt x="1125855" y="52388"/>
                  </a:lnTo>
                  <a:cubicBezTo>
                    <a:pt x="1124903" y="44768"/>
                    <a:pt x="1122998" y="38100"/>
                    <a:pt x="1120140" y="31433"/>
                  </a:cubicBezTo>
                  <a:cubicBezTo>
                    <a:pt x="1117283" y="24765"/>
                    <a:pt x="1113473" y="20003"/>
                    <a:pt x="1107758" y="15240"/>
                  </a:cubicBezTo>
                  <a:cubicBezTo>
                    <a:pt x="1102995" y="10478"/>
                    <a:pt x="1096328" y="6668"/>
                    <a:pt x="1088708" y="4763"/>
                  </a:cubicBezTo>
                  <a:cubicBezTo>
                    <a:pt x="1081088" y="1905"/>
                    <a:pt x="1072515" y="953"/>
                    <a:pt x="1062038" y="953"/>
                  </a:cubicBezTo>
                  <a:cubicBezTo>
                    <a:pt x="1050608" y="953"/>
                    <a:pt x="1040130" y="2858"/>
                    <a:pt x="1030605" y="6668"/>
                  </a:cubicBezTo>
                  <a:cubicBezTo>
                    <a:pt x="1021080" y="10478"/>
                    <a:pt x="1013460" y="16193"/>
                    <a:pt x="1007745" y="22860"/>
                  </a:cubicBezTo>
                  <a:cubicBezTo>
                    <a:pt x="1001078" y="29528"/>
                    <a:pt x="996315" y="38100"/>
                    <a:pt x="993458" y="47625"/>
                  </a:cubicBezTo>
                  <a:cubicBezTo>
                    <a:pt x="990600" y="57150"/>
                    <a:pt x="988695" y="68580"/>
                    <a:pt x="988695" y="80010"/>
                  </a:cubicBezTo>
                  <a:cubicBezTo>
                    <a:pt x="988695" y="91440"/>
                    <a:pt x="989647" y="102870"/>
                    <a:pt x="992505" y="112395"/>
                  </a:cubicBezTo>
                  <a:cubicBezTo>
                    <a:pt x="995363" y="121920"/>
                    <a:pt x="1000125" y="130493"/>
                    <a:pt x="1005840" y="137160"/>
                  </a:cubicBezTo>
                  <a:cubicBezTo>
                    <a:pt x="1011555" y="143828"/>
                    <a:pt x="1019175" y="149543"/>
                    <a:pt x="1028700" y="153353"/>
                  </a:cubicBezTo>
                  <a:cubicBezTo>
                    <a:pt x="1038225" y="157163"/>
                    <a:pt x="1048703" y="159068"/>
                    <a:pt x="1061085" y="159068"/>
                  </a:cubicBezTo>
                  <a:cubicBezTo>
                    <a:pt x="1082993" y="159068"/>
                    <a:pt x="1099185" y="153353"/>
                    <a:pt x="1109663" y="142875"/>
                  </a:cubicBezTo>
                  <a:cubicBezTo>
                    <a:pt x="1120140" y="132398"/>
                    <a:pt x="1126808" y="118110"/>
                    <a:pt x="1127760" y="100013"/>
                  </a:cubicBezTo>
                  <a:lnTo>
                    <a:pt x="1086803" y="100013"/>
                  </a:lnTo>
                  <a:close/>
                  <a:moveTo>
                    <a:pt x="921068" y="155258"/>
                  </a:moveTo>
                  <a:lnTo>
                    <a:pt x="962025" y="155258"/>
                  </a:lnTo>
                  <a:lnTo>
                    <a:pt x="962025" y="109538"/>
                  </a:lnTo>
                  <a:lnTo>
                    <a:pt x="921068" y="109538"/>
                  </a:lnTo>
                  <a:lnTo>
                    <a:pt x="921068" y="155258"/>
                  </a:lnTo>
                  <a:close/>
                  <a:moveTo>
                    <a:pt x="671513" y="155258"/>
                  </a:moveTo>
                  <a:lnTo>
                    <a:pt x="711518" y="155258"/>
                  </a:lnTo>
                  <a:lnTo>
                    <a:pt x="711518" y="65723"/>
                  </a:lnTo>
                  <a:cubicBezTo>
                    <a:pt x="711518" y="60960"/>
                    <a:pt x="712470" y="57150"/>
                    <a:pt x="714375" y="53340"/>
                  </a:cubicBezTo>
                  <a:cubicBezTo>
                    <a:pt x="716280" y="49530"/>
                    <a:pt x="718185" y="46672"/>
                    <a:pt x="721043" y="43815"/>
                  </a:cubicBezTo>
                  <a:cubicBezTo>
                    <a:pt x="723900" y="40958"/>
                    <a:pt x="727710" y="38100"/>
                    <a:pt x="730568" y="37147"/>
                  </a:cubicBezTo>
                  <a:cubicBezTo>
                    <a:pt x="734378" y="36195"/>
                    <a:pt x="737235" y="35243"/>
                    <a:pt x="741998" y="35243"/>
                  </a:cubicBezTo>
                  <a:cubicBezTo>
                    <a:pt x="744855" y="35243"/>
                    <a:pt x="746760" y="35243"/>
                    <a:pt x="749618" y="36195"/>
                  </a:cubicBezTo>
                  <a:cubicBezTo>
                    <a:pt x="751523" y="37147"/>
                    <a:pt x="753428" y="38100"/>
                    <a:pt x="755333" y="40005"/>
                  </a:cubicBezTo>
                  <a:cubicBezTo>
                    <a:pt x="757238" y="41910"/>
                    <a:pt x="758190" y="44768"/>
                    <a:pt x="759143" y="47625"/>
                  </a:cubicBezTo>
                  <a:cubicBezTo>
                    <a:pt x="760095" y="51435"/>
                    <a:pt x="761048" y="55245"/>
                    <a:pt x="761048" y="60960"/>
                  </a:cubicBezTo>
                  <a:lnTo>
                    <a:pt x="761048" y="155258"/>
                  </a:lnTo>
                  <a:lnTo>
                    <a:pt x="801053" y="155258"/>
                  </a:lnTo>
                  <a:lnTo>
                    <a:pt x="801053" y="63818"/>
                  </a:lnTo>
                  <a:cubicBezTo>
                    <a:pt x="801053" y="60008"/>
                    <a:pt x="802005" y="56197"/>
                    <a:pt x="803910" y="53340"/>
                  </a:cubicBezTo>
                  <a:cubicBezTo>
                    <a:pt x="805815" y="49530"/>
                    <a:pt x="807720" y="46672"/>
                    <a:pt x="810578" y="43815"/>
                  </a:cubicBezTo>
                  <a:cubicBezTo>
                    <a:pt x="813435" y="40958"/>
                    <a:pt x="817245" y="38100"/>
                    <a:pt x="820103" y="37147"/>
                  </a:cubicBezTo>
                  <a:cubicBezTo>
                    <a:pt x="822960" y="36195"/>
                    <a:pt x="826770" y="35243"/>
                    <a:pt x="831533" y="35243"/>
                  </a:cubicBezTo>
                  <a:cubicBezTo>
                    <a:pt x="834390" y="35243"/>
                    <a:pt x="836295" y="35243"/>
                    <a:pt x="839153" y="36195"/>
                  </a:cubicBezTo>
                  <a:cubicBezTo>
                    <a:pt x="841058" y="37147"/>
                    <a:pt x="842963" y="38100"/>
                    <a:pt x="844868" y="40005"/>
                  </a:cubicBezTo>
                  <a:cubicBezTo>
                    <a:pt x="846772" y="41910"/>
                    <a:pt x="847725" y="44768"/>
                    <a:pt x="848678" y="47625"/>
                  </a:cubicBezTo>
                  <a:cubicBezTo>
                    <a:pt x="849630" y="51435"/>
                    <a:pt x="849630" y="55245"/>
                    <a:pt x="849630" y="60960"/>
                  </a:cubicBezTo>
                  <a:lnTo>
                    <a:pt x="849630" y="155258"/>
                  </a:lnTo>
                  <a:lnTo>
                    <a:pt x="889635" y="155258"/>
                  </a:lnTo>
                  <a:lnTo>
                    <a:pt x="889635" y="55245"/>
                  </a:lnTo>
                  <a:cubicBezTo>
                    <a:pt x="889635" y="36195"/>
                    <a:pt x="885825" y="22860"/>
                    <a:pt x="878205" y="14288"/>
                  </a:cubicBezTo>
                  <a:cubicBezTo>
                    <a:pt x="870585" y="5715"/>
                    <a:pt x="859155" y="1905"/>
                    <a:pt x="843915" y="1905"/>
                  </a:cubicBezTo>
                  <a:cubicBezTo>
                    <a:pt x="834390" y="1905"/>
                    <a:pt x="826770" y="3810"/>
                    <a:pt x="819150" y="7620"/>
                  </a:cubicBezTo>
                  <a:cubicBezTo>
                    <a:pt x="811530" y="11430"/>
                    <a:pt x="803910" y="18098"/>
                    <a:pt x="797243" y="27623"/>
                  </a:cubicBezTo>
                  <a:cubicBezTo>
                    <a:pt x="794385" y="19050"/>
                    <a:pt x="789623" y="12383"/>
                    <a:pt x="782955" y="8573"/>
                  </a:cubicBezTo>
                  <a:cubicBezTo>
                    <a:pt x="776288" y="4763"/>
                    <a:pt x="766763" y="1905"/>
                    <a:pt x="756285" y="1905"/>
                  </a:cubicBezTo>
                  <a:cubicBezTo>
                    <a:pt x="747713" y="1905"/>
                    <a:pt x="740093" y="3810"/>
                    <a:pt x="732473" y="7620"/>
                  </a:cubicBezTo>
                  <a:cubicBezTo>
                    <a:pt x="724853" y="11430"/>
                    <a:pt x="718185" y="18098"/>
                    <a:pt x="713423" y="25718"/>
                  </a:cubicBezTo>
                  <a:lnTo>
                    <a:pt x="713423" y="5715"/>
                  </a:lnTo>
                  <a:lnTo>
                    <a:pt x="674370" y="5715"/>
                  </a:lnTo>
                  <a:lnTo>
                    <a:pt x="674370" y="155258"/>
                  </a:lnTo>
                  <a:close/>
                  <a:moveTo>
                    <a:pt x="541973" y="116205"/>
                  </a:moveTo>
                  <a:cubicBezTo>
                    <a:pt x="536258" y="108585"/>
                    <a:pt x="533400" y="96203"/>
                    <a:pt x="533400" y="80963"/>
                  </a:cubicBezTo>
                  <a:cubicBezTo>
                    <a:pt x="533400" y="65723"/>
                    <a:pt x="536258" y="54293"/>
                    <a:pt x="541973" y="45720"/>
                  </a:cubicBezTo>
                  <a:cubicBezTo>
                    <a:pt x="547688" y="38100"/>
                    <a:pt x="556260" y="33338"/>
                    <a:pt x="567690" y="33338"/>
                  </a:cubicBezTo>
                  <a:cubicBezTo>
                    <a:pt x="579120" y="33338"/>
                    <a:pt x="587693" y="37147"/>
                    <a:pt x="593408" y="45720"/>
                  </a:cubicBezTo>
                  <a:cubicBezTo>
                    <a:pt x="599123" y="53340"/>
                    <a:pt x="601980" y="65723"/>
                    <a:pt x="601980" y="80963"/>
                  </a:cubicBezTo>
                  <a:cubicBezTo>
                    <a:pt x="601980" y="96203"/>
                    <a:pt x="599123" y="107633"/>
                    <a:pt x="593408" y="116205"/>
                  </a:cubicBezTo>
                  <a:cubicBezTo>
                    <a:pt x="587693" y="124778"/>
                    <a:pt x="579120" y="128588"/>
                    <a:pt x="567690" y="128588"/>
                  </a:cubicBezTo>
                  <a:cubicBezTo>
                    <a:pt x="555308" y="127635"/>
                    <a:pt x="546735" y="123825"/>
                    <a:pt x="541973" y="116205"/>
                  </a:cubicBezTo>
                  <a:moveTo>
                    <a:pt x="598170" y="154305"/>
                  </a:moveTo>
                  <a:cubicBezTo>
                    <a:pt x="607695" y="150495"/>
                    <a:pt x="615315" y="145733"/>
                    <a:pt x="621983" y="138113"/>
                  </a:cubicBezTo>
                  <a:cubicBezTo>
                    <a:pt x="628650" y="131445"/>
                    <a:pt x="633413" y="122873"/>
                    <a:pt x="637223" y="113348"/>
                  </a:cubicBezTo>
                  <a:cubicBezTo>
                    <a:pt x="641033" y="103823"/>
                    <a:pt x="642938" y="92393"/>
                    <a:pt x="642938" y="80010"/>
                  </a:cubicBezTo>
                  <a:cubicBezTo>
                    <a:pt x="642938" y="67628"/>
                    <a:pt x="641033" y="57150"/>
                    <a:pt x="638175" y="46672"/>
                  </a:cubicBezTo>
                  <a:cubicBezTo>
                    <a:pt x="635318" y="36195"/>
                    <a:pt x="629603" y="28575"/>
                    <a:pt x="622935" y="21908"/>
                  </a:cubicBezTo>
                  <a:cubicBezTo>
                    <a:pt x="616268" y="15240"/>
                    <a:pt x="608648" y="9525"/>
                    <a:pt x="599123" y="6668"/>
                  </a:cubicBezTo>
                  <a:cubicBezTo>
                    <a:pt x="589598" y="2858"/>
                    <a:pt x="579120" y="953"/>
                    <a:pt x="567690" y="953"/>
                  </a:cubicBezTo>
                  <a:cubicBezTo>
                    <a:pt x="556260" y="953"/>
                    <a:pt x="545783" y="2858"/>
                    <a:pt x="536258" y="6668"/>
                  </a:cubicBezTo>
                  <a:cubicBezTo>
                    <a:pt x="526733" y="10478"/>
                    <a:pt x="519113" y="15240"/>
                    <a:pt x="512445" y="21908"/>
                  </a:cubicBezTo>
                  <a:cubicBezTo>
                    <a:pt x="505778" y="28575"/>
                    <a:pt x="501015" y="37147"/>
                    <a:pt x="497205" y="46672"/>
                  </a:cubicBezTo>
                  <a:cubicBezTo>
                    <a:pt x="493395" y="56197"/>
                    <a:pt x="491490" y="67628"/>
                    <a:pt x="491490" y="80010"/>
                  </a:cubicBezTo>
                  <a:cubicBezTo>
                    <a:pt x="491490" y="105728"/>
                    <a:pt x="498158" y="124778"/>
                    <a:pt x="511492" y="139065"/>
                  </a:cubicBezTo>
                  <a:cubicBezTo>
                    <a:pt x="524828" y="152400"/>
                    <a:pt x="542925" y="160020"/>
                    <a:pt x="566738" y="160020"/>
                  </a:cubicBezTo>
                  <a:cubicBezTo>
                    <a:pt x="579120" y="160020"/>
                    <a:pt x="589598" y="158115"/>
                    <a:pt x="598170" y="154305"/>
                  </a:cubicBezTo>
                  <a:moveTo>
                    <a:pt x="429578" y="100965"/>
                  </a:moveTo>
                  <a:cubicBezTo>
                    <a:pt x="428625" y="109538"/>
                    <a:pt x="425767" y="116205"/>
                    <a:pt x="421958" y="120968"/>
                  </a:cubicBezTo>
                  <a:cubicBezTo>
                    <a:pt x="417195" y="125730"/>
                    <a:pt x="411480" y="127635"/>
                    <a:pt x="403860" y="127635"/>
                  </a:cubicBezTo>
                  <a:cubicBezTo>
                    <a:pt x="398145" y="127635"/>
                    <a:pt x="392430" y="126683"/>
                    <a:pt x="388620" y="123825"/>
                  </a:cubicBezTo>
                  <a:cubicBezTo>
                    <a:pt x="384810" y="120968"/>
                    <a:pt x="381000" y="118110"/>
                    <a:pt x="379095" y="113348"/>
                  </a:cubicBezTo>
                  <a:cubicBezTo>
                    <a:pt x="377190" y="108585"/>
                    <a:pt x="375285" y="103823"/>
                    <a:pt x="374333" y="98108"/>
                  </a:cubicBezTo>
                  <a:cubicBezTo>
                    <a:pt x="373380" y="92393"/>
                    <a:pt x="372428" y="86678"/>
                    <a:pt x="372428" y="80010"/>
                  </a:cubicBezTo>
                  <a:cubicBezTo>
                    <a:pt x="372428" y="74295"/>
                    <a:pt x="373380" y="67628"/>
                    <a:pt x="374333" y="62865"/>
                  </a:cubicBezTo>
                  <a:cubicBezTo>
                    <a:pt x="375285" y="57150"/>
                    <a:pt x="377190" y="52388"/>
                    <a:pt x="379095" y="47625"/>
                  </a:cubicBezTo>
                  <a:cubicBezTo>
                    <a:pt x="381000" y="42863"/>
                    <a:pt x="384810" y="40005"/>
                    <a:pt x="388620" y="37147"/>
                  </a:cubicBezTo>
                  <a:cubicBezTo>
                    <a:pt x="392430" y="34290"/>
                    <a:pt x="398145" y="33338"/>
                    <a:pt x="403860" y="33338"/>
                  </a:cubicBezTo>
                  <a:cubicBezTo>
                    <a:pt x="412433" y="33338"/>
                    <a:pt x="418148" y="35243"/>
                    <a:pt x="421958" y="40005"/>
                  </a:cubicBezTo>
                  <a:cubicBezTo>
                    <a:pt x="425767" y="44768"/>
                    <a:pt x="427673" y="50483"/>
                    <a:pt x="428625" y="58103"/>
                  </a:cubicBezTo>
                  <a:lnTo>
                    <a:pt x="468630" y="52388"/>
                  </a:lnTo>
                  <a:cubicBezTo>
                    <a:pt x="467678" y="44768"/>
                    <a:pt x="465773" y="38100"/>
                    <a:pt x="462915" y="31433"/>
                  </a:cubicBezTo>
                  <a:cubicBezTo>
                    <a:pt x="460058" y="24765"/>
                    <a:pt x="456248" y="20003"/>
                    <a:pt x="450533" y="15240"/>
                  </a:cubicBezTo>
                  <a:cubicBezTo>
                    <a:pt x="445770" y="10478"/>
                    <a:pt x="439103" y="6668"/>
                    <a:pt x="431483" y="4763"/>
                  </a:cubicBezTo>
                  <a:cubicBezTo>
                    <a:pt x="423863" y="1905"/>
                    <a:pt x="415290" y="953"/>
                    <a:pt x="404813" y="953"/>
                  </a:cubicBezTo>
                  <a:cubicBezTo>
                    <a:pt x="393383" y="953"/>
                    <a:pt x="382905" y="2858"/>
                    <a:pt x="373380" y="6668"/>
                  </a:cubicBezTo>
                  <a:cubicBezTo>
                    <a:pt x="363855" y="10478"/>
                    <a:pt x="356235" y="16193"/>
                    <a:pt x="350520" y="22860"/>
                  </a:cubicBezTo>
                  <a:cubicBezTo>
                    <a:pt x="343853" y="29528"/>
                    <a:pt x="339090" y="38100"/>
                    <a:pt x="336233" y="47625"/>
                  </a:cubicBezTo>
                  <a:cubicBezTo>
                    <a:pt x="333375" y="57150"/>
                    <a:pt x="331470" y="68580"/>
                    <a:pt x="331470" y="80010"/>
                  </a:cubicBezTo>
                  <a:cubicBezTo>
                    <a:pt x="331470" y="91440"/>
                    <a:pt x="333375" y="102870"/>
                    <a:pt x="336233" y="112395"/>
                  </a:cubicBezTo>
                  <a:cubicBezTo>
                    <a:pt x="339090" y="121920"/>
                    <a:pt x="343853" y="130493"/>
                    <a:pt x="349567" y="137160"/>
                  </a:cubicBezTo>
                  <a:cubicBezTo>
                    <a:pt x="355283" y="143828"/>
                    <a:pt x="362903" y="149543"/>
                    <a:pt x="372428" y="153353"/>
                  </a:cubicBezTo>
                  <a:cubicBezTo>
                    <a:pt x="381953" y="157163"/>
                    <a:pt x="392430" y="159068"/>
                    <a:pt x="404813" y="159068"/>
                  </a:cubicBezTo>
                  <a:cubicBezTo>
                    <a:pt x="426720" y="159068"/>
                    <a:pt x="442913" y="153353"/>
                    <a:pt x="453390" y="142875"/>
                  </a:cubicBezTo>
                  <a:cubicBezTo>
                    <a:pt x="463867" y="132398"/>
                    <a:pt x="470535" y="118110"/>
                    <a:pt x="471488" y="100013"/>
                  </a:cubicBezTo>
                  <a:lnTo>
                    <a:pt x="429578" y="100013"/>
                  </a:lnTo>
                  <a:close/>
                  <a:moveTo>
                    <a:pt x="203835" y="63818"/>
                  </a:moveTo>
                  <a:cubicBezTo>
                    <a:pt x="203835" y="59055"/>
                    <a:pt x="204788" y="55245"/>
                    <a:pt x="206692" y="51435"/>
                  </a:cubicBezTo>
                  <a:cubicBezTo>
                    <a:pt x="208598" y="47625"/>
                    <a:pt x="210502" y="43815"/>
                    <a:pt x="213360" y="40958"/>
                  </a:cubicBezTo>
                  <a:cubicBezTo>
                    <a:pt x="216217" y="38100"/>
                    <a:pt x="219075" y="35243"/>
                    <a:pt x="223838" y="34290"/>
                  </a:cubicBezTo>
                  <a:cubicBezTo>
                    <a:pt x="227648" y="32385"/>
                    <a:pt x="232410" y="31433"/>
                    <a:pt x="238125" y="31433"/>
                  </a:cubicBezTo>
                  <a:cubicBezTo>
                    <a:pt x="248602" y="31433"/>
                    <a:pt x="256223" y="34290"/>
                    <a:pt x="261938" y="40005"/>
                  </a:cubicBezTo>
                  <a:cubicBezTo>
                    <a:pt x="266700" y="45720"/>
                    <a:pt x="269558" y="53340"/>
                    <a:pt x="269558" y="63818"/>
                  </a:cubicBezTo>
                  <a:lnTo>
                    <a:pt x="203835" y="63818"/>
                  </a:lnTo>
                  <a:close/>
                  <a:moveTo>
                    <a:pt x="266700" y="108585"/>
                  </a:moveTo>
                  <a:cubicBezTo>
                    <a:pt x="263842" y="121920"/>
                    <a:pt x="254317" y="128588"/>
                    <a:pt x="239077" y="128588"/>
                  </a:cubicBezTo>
                  <a:cubicBezTo>
                    <a:pt x="227648" y="128588"/>
                    <a:pt x="219075" y="124778"/>
                    <a:pt x="213360" y="118110"/>
                  </a:cubicBezTo>
                  <a:cubicBezTo>
                    <a:pt x="207645" y="111443"/>
                    <a:pt x="204788" y="101918"/>
                    <a:pt x="203835" y="89535"/>
                  </a:cubicBezTo>
                  <a:lnTo>
                    <a:pt x="307658" y="89535"/>
                  </a:lnTo>
                  <a:lnTo>
                    <a:pt x="307658" y="73343"/>
                  </a:lnTo>
                  <a:cubicBezTo>
                    <a:pt x="307658" y="51435"/>
                    <a:pt x="301942" y="33338"/>
                    <a:pt x="290513" y="20003"/>
                  </a:cubicBezTo>
                  <a:cubicBezTo>
                    <a:pt x="279083" y="6668"/>
                    <a:pt x="261938" y="0"/>
                    <a:pt x="239077" y="0"/>
                  </a:cubicBezTo>
                  <a:cubicBezTo>
                    <a:pt x="227648" y="0"/>
                    <a:pt x="218123" y="1905"/>
                    <a:pt x="208598" y="5715"/>
                  </a:cubicBezTo>
                  <a:cubicBezTo>
                    <a:pt x="199073" y="9525"/>
                    <a:pt x="191452" y="14288"/>
                    <a:pt x="184785" y="20955"/>
                  </a:cubicBezTo>
                  <a:cubicBezTo>
                    <a:pt x="178118" y="27623"/>
                    <a:pt x="173355" y="36195"/>
                    <a:pt x="169545" y="45720"/>
                  </a:cubicBezTo>
                  <a:cubicBezTo>
                    <a:pt x="165735" y="55245"/>
                    <a:pt x="163830" y="66675"/>
                    <a:pt x="163830" y="79058"/>
                  </a:cubicBezTo>
                  <a:cubicBezTo>
                    <a:pt x="163830" y="103823"/>
                    <a:pt x="170498" y="123825"/>
                    <a:pt x="182880" y="137160"/>
                  </a:cubicBezTo>
                  <a:cubicBezTo>
                    <a:pt x="195263" y="150495"/>
                    <a:pt x="214313" y="158115"/>
                    <a:pt x="239077" y="158115"/>
                  </a:cubicBezTo>
                  <a:cubicBezTo>
                    <a:pt x="260033" y="158115"/>
                    <a:pt x="275273" y="153353"/>
                    <a:pt x="285750" y="144780"/>
                  </a:cubicBezTo>
                  <a:cubicBezTo>
                    <a:pt x="296228" y="136208"/>
                    <a:pt x="302895" y="123825"/>
                    <a:pt x="305753" y="106680"/>
                  </a:cubicBezTo>
                  <a:lnTo>
                    <a:pt x="266700" y="106680"/>
                  </a:lnTo>
                  <a:close/>
                  <a:moveTo>
                    <a:pt x="97155" y="96203"/>
                  </a:moveTo>
                  <a:cubicBezTo>
                    <a:pt x="97155" y="101918"/>
                    <a:pt x="96202" y="107633"/>
                    <a:pt x="93345" y="111443"/>
                  </a:cubicBezTo>
                  <a:cubicBezTo>
                    <a:pt x="91440" y="115253"/>
                    <a:pt x="88582" y="119063"/>
                    <a:pt x="84773" y="121920"/>
                  </a:cubicBezTo>
                  <a:cubicBezTo>
                    <a:pt x="78105" y="126683"/>
                    <a:pt x="69532" y="129540"/>
                    <a:pt x="60007" y="129540"/>
                  </a:cubicBezTo>
                  <a:cubicBezTo>
                    <a:pt x="54293" y="129540"/>
                    <a:pt x="49530" y="127635"/>
                    <a:pt x="45720" y="124778"/>
                  </a:cubicBezTo>
                  <a:cubicBezTo>
                    <a:pt x="41910" y="121920"/>
                    <a:pt x="40957" y="118110"/>
                    <a:pt x="40957" y="113348"/>
                  </a:cubicBezTo>
                  <a:cubicBezTo>
                    <a:pt x="40957" y="110490"/>
                    <a:pt x="40957" y="106680"/>
                    <a:pt x="42863" y="104775"/>
                  </a:cubicBezTo>
                  <a:cubicBezTo>
                    <a:pt x="43815" y="101918"/>
                    <a:pt x="45720" y="100013"/>
                    <a:pt x="48577" y="98108"/>
                  </a:cubicBezTo>
                  <a:cubicBezTo>
                    <a:pt x="51435" y="96203"/>
                    <a:pt x="55245" y="94298"/>
                    <a:pt x="60007" y="93345"/>
                  </a:cubicBezTo>
                  <a:cubicBezTo>
                    <a:pt x="64770" y="92393"/>
                    <a:pt x="72390" y="91440"/>
                    <a:pt x="80010" y="90488"/>
                  </a:cubicBezTo>
                  <a:lnTo>
                    <a:pt x="98107" y="89535"/>
                  </a:lnTo>
                  <a:lnTo>
                    <a:pt x="98107" y="96203"/>
                  </a:lnTo>
                  <a:close/>
                  <a:moveTo>
                    <a:pt x="98107" y="155258"/>
                  </a:moveTo>
                  <a:lnTo>
                    <a:pt x="136208" y="155258"/>
                  </a:lnTo>
                  <a:lnTo>
                    <a:pt x="136208" y="60960"/>
                  </a:lnTo>
                  <a:cubicBezTo>
                    <a:pt x="136208" y="51435"/>
                    <a:pt x="135255" y="43815"/>
                    <a:pt x="133350" y="36195"/>
                  </a:cubicBezTo>
                  <a:cubicBezTo>
                    <a:pt x="131445" y="28575"/>
                    <a:pt x="127635" y="22860"/>
                    <a:pt x="122873" y="17145"/>
                  </a:cubicBezTo>
                  <a:cubicBezTo>
                    <a:pt x="118110" y="12383"/>
                    <a:pt x="111443" y="7620"/>
                    <a:pt x="103823" y="5715"/>
                  </a:cubicBezTo>
                  <a:cubicBezTo>
                    <a:pt x="96202" y="3810"/>
                    <a:pt x="85725" y="1905"/>
                    <a:pt x="74295" y="1905"/>
                  </a:cubicBezTo>
                  <a:cubicBezTo>
                    <a:pt x="55245" y="1905"/>
                    <a:pt x="40957" y="5715"/>
                    <a:pt x="29527" y="12383"/>
                  </a:cubicBezTo>
                  <a:cubicBezTo>
                    <a:pt x="18098" y="19050"/>
                    <a:pt x="11430" y="30480"/>
                    <a:pt x="8573" y="46672"/>
                  </a:cubicBezTo>
                  <a:lnTo>
                    <a:pt x="44768" y="50483"/>
                  </a:lnTo>
                  <a:cubicBezTo>
                    <a:pt x="46673" y="38100"/>
                    <a:pt x="56198" y="32385"/>
                    <a:pt x="71438" y="32385"/>
                  </a:cubicBezTo>
                  <a:cubicBezTo>
                    <a:pt x="78105" y="32385"/>
                    <a:pt x="83820" y="34290"/>
                    <a:pt x="89535" y="37147"/>
                  </a:cubicBezTo>
                  <a:cubicBezTo>
                    <a:pt x="94298" y="40958"/>
                    <a:pt x="97155" y="46672"/>
                    <a:pt x="97155" y="56197"/>
                  </a:cubicBezTo>
                  <a:lnTo>
                    <a:pt x="97155" y="62865"/>
                  </a:lnTo>
                  <a:lnTo>
                    <a:pt x="78105" y="63818"/>
                  </a:lnTo>
                  <a:cubicBezTo>
                    <a:pt x="68580" y="63818"/>
                    <a:pt x="59055" y="64770"/>
                    <a:pt x="49530" y="66675"/>
                  </a:cubicBezTo>
                  <a:cubicBezTo>
                    <a:pt x="40005" y="68580"/>
                    <a:pt x="32385" y="70485"/>
                    <a:pt x="24765" y="74295"/>
                  </a:cubicBezTo>
                  <a:cubicBezTo>
                    <a:pt x="17145" y="78105"/>
                    <a:pt x="11430" y="82868"/>
                    <a:pt x="6668" y="89535"/>
                  </a:cubicBezTo>
                  <a:cubicBezTo>
                    <a:pt x="1905" y="96203"/>
                    <a:pt x="0" y="104775"/>
                    <a:pt x="0" y="114300"/>
                  </a:cubicBezTo>
                  <a:cubicBezTo>
                    <a:pt x="0" y="121920"/>
                    <a:pt x="952" y="128588"/>
                    <a:pt x="3810" y="134303"/>
                  </a:cubicBezTo>
                  <a:cubicBezTo>
                    <a:pt x="6668" y="140018"/>
                    <a:pt x="10477" y="144780"/>
                    <a:pt x="14288" y="148590"/>
                  </a:cubicBezTo>
                  <a:cubicBezTo>
                    <a:pt x="19050" y="152400"/>
                    <a:pt x="23813" y="155258"/>
                    <a:pt x="29527" y="156210"/>
                  </a:cubicBezTo>
                  <a:cubicBezTo>
                    <a:pt x="35243" y="157163"/>
                    <a:pt x="41910" y="159068"/>
                    <a:pt x="48577" y="159068"/>
                  </a:cubicBezTo>
                  <a:cubicBezTo>
                    <a:pt x="60007" y="159068"/>
                    <a:pt x="69532" y="157163"/>
                    <a:pt x="77152" y="152400"/>
                  </a:cubicBezTo>
                  <a:cubicBezTo>
                    <a:pt x="84773" y="147638"/>
                    <a:pt x="91440" y="142875"/>
                    <a:pt x="97155" y="136208"/>
                  </a:cubicBezTo>
                  <a:lnTo>
                    <a:pt x="97155" y="155258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407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364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ort Authority of New York and New Jersey - Wikipedia">
            <a:extLst>
              <a:ext uri="{FF2B5EF4-FFF2-40B4-BE49-F238E27FC236}">
                <a16:creationId xmlns:a16="http://schemas.microsoft.com/office/drawing/2014/main" id="{E1887D03-1C11-4FFC-8747-48CCD9A058C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030" y="790330"/>
            <a:ext cx="25201539" cy="1392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CA46303-01A7-407E-9A89-656A2E085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2352" y="659607"/>
            <a:ext cx="12847777" cy="144744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000" baseline="0">
                <a:solidFill>
                  <a:srgbClr val="022DB7"/>
                </a:solidFill>
                <a:latin typeface="+mj-lt"/>
                <a:cs typeface="GT America Extended Black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C8B82C0-A8EF-460F-87DA-65EABB84867A}"/>
              </a:ext>
            </a:extLst>
          </p:cNvPr>
          <p:cNvSpPr txBox="1">
            <a:spLocks/>
          </p:cNvSpPr>
          <p:nvPr userDrawn="1"/>
        </p:nvSpPr>
        <p:spPr>
          <a:xfrm>
            <a:off x="1414304" y="14060846"/>
            <a:ext cx="12847777" cy="14474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20677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 baseline="0">
                <a:solidFill>
                  <a:srgbClr val="022DB7"/>
                </a:solidFill>
                <a:latin typeface="GT America Extended Black"/>
                <a:ea typeface="+mj-ea"/>
                <a:cs typeface="GT America Extended Black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ineering Digital Transformation Program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B14A936-48D6-45EA-AF7C-67EC06B7A531}"/>
              </a:ext>
            </a:extLst>
          </p:cNvPr>
          <p:cNvGrpSpPr/>
          <p:nvPr userDrawn="1"/>
        </p:nvGrpSpPr>
        <p:grpSpPr>
          <a:xfrm>
            <a:off x="27287127" y="73554"/>
            <a:ext cx="2168370" cy="2374787"/>
            <a:chOff x="12210519" y="3928289"/>
            <a:chExt cx="6228545" cy="6821468"/>
          </a:xfrm>
        </p:grpSpPr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331EE082-58CF-4320-9DCC-28E71EB4AE21}"/>
                </a:ext>
              </a:extLst>
            </p:cNvPr>
            <p:cNvSpPr/>
            <p:nvPr/>
          </p:nvSpPr>
          <p:spPr>
            <a:xfrm>
              <a:off x="13466986" y="6604992"/>
              <a:ext cx="3065549" cy="245686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Parallelogram 11">
              <a:extLst>
                <a:ext uri="{FF2B5EF4-FFF2-40B4-BE49-F238E27FC236}">
                  <a16:creationId xmlns:a16="http://schemas.microsoft.com/office/drawing/2014/main" id="{8E9BB1C1-833C-408A-AADF-F1F4CCF75898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E4610F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ECF87A22-9F5C-44CE-91E6-8210FEFA642D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00A9E4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B83F6627-C725-414F-9799-E0B6962FFAFF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chemeClr val="accent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15" name="Graphic 14" descr="Users">
              <a:extLst>
                <a:ext uri="{FF2B5EF4-FFF2-40B4-BE49-F238E27FC236}">
                  <a16:creationId xmlns:a16="http://schemas.microsoft.com/office/drawing/2014/main" id="{420AA2D4-342E-418B-B14C-54AE3B12D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16" name="Graphic 15" descr="Circles with arrows with solid fill">
              <a:extLst>
                <a:ext uri="{FF2B5EF4-FFF2-40B4-BE49-F238E27FC236}">
                  <a16:creationId xmlns:a16="http://schemas.microsoft.com/office/drawing/2014/main" id="{F04D0039-595F-4C1C-812C-C35AB398E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17" name="Graphic 16" descr="Bar chart with solid fill">
              <a:extLst>
                <a:ext uri="{FF2B5EF4-FFF2-40B4-BE49-F238E27FC236}">
                  <a16:creationId xmlns:a16="http://schemas.microsoft.com/office/drawing/2014/main" id="{5344D719-31D2-442D-A447-D151389F7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30C75E1-1F78-4439-8F84-06D07123816F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19" name="Graphic 18" descr="Connections with solid fill">
                <a:extLst>
                  <a:ext uri="{FF2B5EF4-FFF2-40B4-BE49-F238E27FC236}">
                    <a16:creationId xmlns:a16="http://schemas.microsoft.com/office/drawing/2014/main" id="{EC7766AC-B86A-4935-A28F-15EDDFADE7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2489536E-BC1E-4782-938E-B55384966F88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963887EA-744B-44CF-83A6-25488FD9E3E6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8242C2E-7AE3-4E9D-A0E1-71A8E3BB9278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8BFB49B0-0B24-4AD3-B413-1450339A2B46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C092BB28-ED50-4C03-A282-B5FD7A4D9C7A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DCA20017-4048-4868-AD51-A42E1F92C1CB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6" name="Graphic 25" descr="Ui Ux with solid fill">
                <a:extLst>
                  <a:ext uri="{FF2B5EF4-FFF2-40B4-BE49-F238E27FC236}">
                    <a16:creationId xmlns:a16="http://schemas.microsoft.com/office/drawing/2014/main" id="{4366E692-2B72-4842-AE36-0C178B7467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27" name="Graphic 26" descr="User with solid fill">
                <a:extLst>
                  <a:ext uri="{FF2B5EF4-FFF2-40B4-BE49-F238E27FC236}">
                    <a16:creationId xmlns:a16="http://schemas.microsoft.com/office/drawing/2014/main" id="{640D4FDC-BDD4-4B14-A231-034CFB039B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28" name="Graphic 27" descr="Wi-Fi with solid fill">
                <a:extLst>
                  <a:ext uri="{FF2B5EF4-FFF2-40B4-BE49-F238E27FC236}">
                    <a16:creationId xmlns:a16="http://schemas.microsoft.com/office/drawing/2014/main" id="{559C79B7-3528-42CD-B78E-B7181BB77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29" name="Graphic 28" descr="User with solid fill">
                <a:extLst>
                  <a:ext uri="{FF2B5EF4-FFF2-40B4-BE49-F238E27FC236}">
                    <a16:creationId xmlns:a16="http://schemas.microsoft.com/office/drawing/2014/main" id="{6D491B3C-2A04-4AAE-BA84-BC64DBA118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30" name="Graphic 29" descr="User with solid fill">
                <a:extLst>
                  <a:ext uri="{FF2B5EF4-FFF2-40B4-BE49-F238E27FC236}">
                    <a16:creationId xmlns:a16="http://schemas.microsoft.com/office/drawing/2014/main" id="{C5E63214-706D-499D-A656-453F897E49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31" name="Graphic 30" descr="User with solid fill">
                <a:extLst>
                  <a:ext uri="{FF2B5EF4-FFF2-40B4-BE49-F238E27FC236}">
                    <a16:creationId xmlns:a16="http://schemas.microsoft.com/office/drawing/2014/main" id="{FED95CA8-0EF6-4F7D-8E58-B9574F46C4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232467F-934C-830B-855A-ED6F551E1CDF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3118418" y="14357230"/>
            <a:ext cx="3072216" cy="721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5141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CA46303-01A7-407E-9A89-656A2E085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2352" y="659607"/>
            <a:ext cx="12847777" cy="144744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000" baseline="0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C8B82C0-A8EF-460F-87DA-65EABB84867A}"/>
              </a:ext>
            </a:extLst>
          </p:cNvPr>
          <p:cNvSpPr txBox="1">
            <a:spLocks/>
          </p:cNvSpPr>
          <p:nvPr userDrawn="1"/>
        </p:nvSpPr>
        <p:spPr>
          <a:xfrm>
            <a:off x="1414304" y="14060846"/>
            <a:ext cx="12847777" cy="14474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20677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 baseline="0">
                <a:solidFill>
                  <a:srgbClr val="022DB7"/>
                </a:solidFill>
                <a:latin typeface="GT America Extended Black"/>
                <a:ea typeface="+mj-ea"/>
                <a:cs typeface="GT America Extended Black"/>
              </a:defRPr>
            </a:lvl1pPr>
          </a:lstStyle>
          <a:p>
            <a:r>
              <a:rPr lang="en-US" sz="3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ineering Digital Transformation Program</a:t>
            </a:r>
          </a:p>
        </p:txBody>
      </p:sp>
      <p:pic>
        <p:nvPicPr>
          <p:cNvPr id="2" name="Picture 2" descr="Port Authority of New York and New Jersey - Wikipedia">
            <a:extLst>
              <a:ext uri="{FF2B5EF4-FFF2-40B4-BE49-F238E27FC236}">
                <a16:creationId xmlns:a16="http://schemas.microsoft.com/office/drawing/2014/main" id="{2AABB3DA-19AE-3B62-7939-706DA2A09C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030" y="790330"/>
            <a:ext cx="25201539" cy="13927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581CD751-B101-40A0-373E-D0D0E64B7644}"/>
              </a:ext>
            </a:extLst>
          </p:cNvPr>
          <p:cNvGrpSpPr/>
          <p:nvPr userDrawn="1"/>
        </p:nvGrpSpPr>
        <p:grpSpPr>
          <a:xfrm>
            <a:off x="28397017" y="157194"/>
            <a:ext cx="2110753" cy="2311685"/>
            <a:chOff x="12210519" y="3928289"/>
            <a:chExt cx="6228545" cy="6821468"/>
          </a:xfrm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72BD9783-6BB1-3503-C179-FC9634D0D9E4}"/>
                </a:ext>
              </a:extLst>
            </p:cNvPr>
            <p:cNvSpPr/>
            <p:nvPr/>
          </p:nvSpPr>
          <p:spPr>
            <a:xfrm>
              <a:off x="13466986" y="6604992"/>
              <a:ext cx="3065549" cy="245686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EB30C628-E6E0-FA21-1690-3922D5DDDF2D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E4610F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28BA6351-AE8B-20CB-9848-9F6C19553F87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00A9E4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A4AC9EE5-C1BE-4CB0-35E3-BDB9CB6B0546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chemeClr val="accent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34" name="Graphic 33" descr="Users">
              <a:extLst>
                <a:ext uri="{FF2B5EF4-FFF2-40B4-BE49-F238E27FC236}">
                  <a16:creationId xmlns:a16="http://schemas.microsoft.com/office/drawing/2014/main" id="{11E7748B-AE1F-A557-548F-C2F37363D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35" name="Graphic 34" descr="Circles with arrows with solid fill">
              <a:extLst>
                <a:ext uri="{FF2B5EF4-FFF2-40B4-BE49-F238E27FC236}">
                  <a16:creationId xmlns:a16="http://schemas.microsoft.com/office/drawing/2014/main" id="{EF218761-075E-BD99-049E-97993FD4A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36" name="Graphic 35" descr="Bar chart with solid fill">
              <a:extLst>
                <a:ext uri="{FF2B5EF4-FFF2-40B4-BE49-F238E27FC236}">
                  <a16:creationId xmlns:a16="http://schemas.microsoft.com/office/drawing/2014/main" id="{FE29E23A-49F4-34AE-28AA-440E95AAE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80184AB-903D-0AA7-C523-B372D05B24E7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38" name="Graphic 37" descr="Connections with solid fill">
                <a:extLst>
                  <a:ext uri="{FF2B5EF4-FFF2-40B4-BE49-F238E27FC236}">
                    <a16:creationId xmlns:a16="http://schemas.microsoft.com/office/drawing/2014/main" id="{9B3A0C0D-3727-1A29-9B8C-CB2DDB9807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F3B69699-B55A-6669-54B2-5D0F1668C711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23EBE6E-4D4B-D514-EFBE-1FE525E9115B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995818DD-1CB6-8CE5-E8DA-FDC00542F049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67D7AB1-0CFF-9116-D5F5-355022597177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D2A5ED1-AD44-0532-AF90-8973673C77BA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D6F6D82-8B34-4E9E-CD08-BE9FC251FE06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5" name="Graphic 44" descr="Ui Ux with solid fill">
                <a:extLst>
                  <a:ext uri="{FF2B5EF4-FFF2-40B4-BE49-F238E27FC236}">
                    <a16:creationId xmlns:a16="http://schemas.microsoft.com/office/drawing/2014/main" id="{20BF4624-3D98-5C4B-8C97-1C3443F6DA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46" name="Graphic 45" descr="User with solid fill">
                <a:extLst>
                  <a:ext uri="{FF2B5EF4-FFF2-40B4-BE49-F238E27FC236}">
                    <a16:creationId xmlns:a16="http://schemas.microsoft.com/office/drawing/2014/main" id="{3E940D5F-A137-AA96-0ADD-13B44FF638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7" name="Graphic 46" descr="Wi-Fi with solid fill">
                <a:extLst>
                  <a:ext uri="{FF2B5EF4-FFF2-40B4-BE49-F238E27FC236}">
                    <a16:creationId xmlns:a16="http://schemas.microsoft.com/office/drawing/2014/main" id="{FB116478-BBB6-969E-DE19-CD2B080BBA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48" name="Graphic 47" descr="User with solid fill">
                <a:extLst>
                  <a:ext uri="{FF2B5EF4-FFF2-40B4-BE49-F238E27FC236}">
                    <a16:creationId xmlns:a16="http://schemas.microsoft.com/office/drawing/2014/main" id="{BEDEAA59-8831-BD66-BA70-A89CC856D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9" name="Graphic 48" descr="User with solid fill">
                <a:extLst>
                  <a:ext uri="{FF2B5EF4-FFF2-40B4-BE49-F238E27FC236}">
                    <a16:creationId xmlns:a16="http://schemas.microsoft.com/office/drawing/2014/main" id="{C9C28650-537D-FE6C-9155-C265502A47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50" name="Graphic 49" descr="User with solid fill">
                <a:extLst>
                  <a:ext uri="{FF2B5EF4-FFF2-40B4-BE49-F238E27FC236}">
                    <a16:creationId xmlns:a16="http://schemas.microsoft.com/office/drawing/2014/main" id="{0A44363C-F633-8852-FAE7-A42B6F3AA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49028872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56F6FF4-DE8B-4094-AE0E-C85388BEE3D0}"/>
              </a:ext>
            </a:extLst>
          </p:cNvPr>
          <p:cNvSpPr/>
          <p:nvPr userDrawn="1"/>
        </p:nvSpPr>
        <p:spPr>
          <a:xfrm>
            <a:off x="0" y="13977096"/>
            <a:ext cx="31089600" cy="153119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01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F684C3-4FB2-40AA-B9C5-E27811A856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883322" y="14172622"/>
            <a:ext cx="2791973" cy="11823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CA46303-01A7-407E-9A89-656A2E085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2352" y="659607"/>
            <a:ext cx="12847777" cy="144744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000" baseline="0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C8B82C0-A8EF-460F-87DA-65EABB84867A}"/>
              </a:ext>
            </a:extLst>
          </p:cNvPr>
          <p:cNvSpPr txBox="1">
            <a:spLocks/>
          </p:cNvSpPr>
          <p:nvPr userDrawn="1"/>
        </p:nvSpPr>
        <p:spPr>
          <a:xfrm>
            <a:off x="1414304" y="14060846"/>
            <a:ext cx="12847777" cy="14474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20677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 baseline="0">
                <a:solidFill>
                  <a:srgbClr val="022DB7"/>
                </a:solidFill>
                <a:latin typeface="GT America Extended Black"/>
                <a:ea typeface="+mj-ea"/>
                <a:cs typeface="GT America Extended Black"/>
              </a:defRPr>
            </a:lvl1pPr>
          </a:lstStyle>
          <a:p>
            <a:r>
              <a:rPr lang="en-US" sz="3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gineering Digital Transformation Progra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81CD751-B101-40A0-373E-D0D0E64B7644}"/>
              </a:ext>
            </a:extLst>
          </p:cNvPr>
          <p:cNvGrpSpPr/>
          <p:nvPr userDrawn="1"/>
        </p:nvGrpSpPr>
        <p:grpSpPr>
          <a:xfrm>
            <a:off x="28397017" y="157194"/>
            <a:ext cx="2110753" cy="2311685"/>
            <a:chOff x="12210519" y="3928289"/>
            <a:chExt cx="6228545" cy="6821468"/>
          </a:xfrm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72BD9783-6BB1-3503-C179-FC9634D0D9E4}"/>
                </a:ext>
              </a:extLst>
            </p:cNvPr>
            <p:cNvSpPr/>
            <p:nvPr/>
          </p:nvSpPr>
          <p:spPr>
            <a:xfrm>
              <a:off x="13466986" y="6604992"/>
              <a:ext cx="3065549" cy="2456867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EB30C628-E6E0-FA21-1690-3922D5DDDF2D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E4610F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28BA6351-AE8B-20CB-9848-9F6C19553F87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00A9E4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A4AC9EE5-C1BE-4CB0-35E3-BDB9CB6B0546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chemeClr val="accent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34" name="Graphic 33" descr="Users">
              <a:extLst>
                <a:ext uri="{FF2B5EF4-FFF2-40B4-BE49-F238E27FC236}">
                  <a16:creationId xmlns:a16="http://schemas.microsoft.com/office/drawing/2014/main" id="{11E7748B-AE1F-A557-548F-C2F37363D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35" name="Graphic 34" descr="Circles with arrows with solid fill">
              <a:extLst>
                <a:ext uri="{FF2B5EF4-FFF2-40B4-BE49-F238E27FC236}">
                  <a16:creationId xmlns:a16="http://schemas.microsoft.com/office/drawing/2014/main" id="{EF218761-075E-BD99-049E-97993FD4A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36" name="Graphic 35" descr="Bar chart with solid fill">
              <a:extLst>
                <a:ext uri="{FF2B5EF4-FFF2-40B4-BE49-F238E27FC236}">
                  <a16:creationId xmlns:a16="http://schemas.microsoft.com/office/drawing/2014/main" id="{FE29E23A-49F4-34AE-28AA-440E95AAE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80184AB-903D-0AA7-C523-B372D05B24E7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38" name="Graphic 37" descr="Connections with solid fill">
                <a:extLst>
                  <a:ext uri="{FF2B5EF4-FFF2-40B4-BE49-F238E27FC236}">
                    <a16:creationId xmlns:a16="http://schemas.microsoft.com/office/drawing/2014/main" id="{9B3A0C0D-3727-1A29-9B8C-CB2DDB9807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F3B69699-B55A-6669-54B2-5D0F1668C711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23EBE6E-4D4B-D514-EFBE-1FE525E9115B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995818DD-1CB6-8CE5-E8DA-FDC00542F049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67D7AB1-0CFF-9116-D5F5-355022597177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D2A5ED1-AD44-0532-AF90-8973673C77BA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D6F6D82-8B34-4E9E-CD08-BE9FC251FE06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5" name="Graphic 44" descr="Ui Ux with solid fill">
                <a:extLst>
                  <a:ext uri="{FF2B5EF4-FFF2-40B4-BE49-F238E27FC236}">
                    <a16:creationId xmlns:a16="http://schemas.microsoft.com/office/drawing/2014/main" id="{20BF4624-3D98-5C4B-8C97-1C3443F6DA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46" name="Graphic 45" descr="User with solid fill">
                <a:extLst>
                  <a:ext uri="{FF2B5EF4-FFF2-40B4-BE49-F238E27FC236}">
                    <a16:creationId xmlns:a16="http://schemas.microsoft.com/office/drawing/2014/main" id="{3E940D5F-A137-AA96-0ADD-13B44FF638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7" name="Graphic 46" descr="Wi-Fi with solid fill">
                <a:extLst>
                  <a:ext uri="{FF2B5EF4-FFF2-40B4-BE49-F238E27FC236}">
                    <a16:creationId xmlns:a16="http://schemas.microsoft.com/office/drawing/2014/main" id="{FB116478-BBB6-969E-DE19-CD2B080BBA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48" name="Graphic 47" descr="User with solid fill">
                <a:extLst>
                  <a:ext uri="{FF2B5EF4-FFF2-40B4-BE49-F238E27FC236}">
                    <a16:creationId xmlns:a16="http://schemas.microsoft.com/office/drawing/2014/main" id="{BEDEAA59-8831-BD66-BA70-A89CC856D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9" name="Graphic 48" descr="User with solid fill">
                <a:extLst>
                  <a:ext uri="{FF2B5EF4-FFF2-40B4-BE49-F238E27FC236}">
                    <a16:creationId xmlns:a16="http://schemas.microsoft.com/office/drawing/2014/main" id="{C9C28650-537D-FE6C-9155-C265502A47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50" name="Graphic 49" descr="User with solid fill">
                <a:extLst>
                  <a:ext uri="{FF2B5EF4-FFF2-40B4-BE49-F238E27FC236}">
                    <a16:creationId xmlns:a16="http://schemas.microsoft.com/office/drawing/2014/main" id="{0A44363C-F633-8852-FAE7-A42B6F3AA6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81187310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37410" y="825674"/>
            <a:ext cx="26814780" cy="29975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37410" y="4128364"/>
            <a:ext cx="26814780" cy="98398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37410" y="14373886"/>
            <a:ext cx="6995160" cy="825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2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98430" y="14373886"/>
            <a:ext cx="10492740" cy="825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957030" y="14373886"/>
            <a:ext cx="6995160" cy="825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1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—</a:t>
            </a:r>
            <a:fld id="{9526B052-9076-D74B-B877-F6D95977CF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766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15" r:id="rId8"/>
    <p:sldLayoutId id="2147483819" r:id="rId9"/>
    <p:sldLayoutId id="2147483818" r:id="rId10"/>
    <p:sldLayoutId id="2147483806" r:id="rId11"/>
    <p:sldLayoutId id="2147483807" r:id="rId12"/>
    <p:sldLayoutId id="2147483808" r:id="rId13"/>
    <p:sldLayoutId id="2147483809" r:id="rId14"/>
    <p:sldLayoutId id="2147483650" r:id="rId15"/>
    <p:sldLayoutId id="2147483651" r:id="rId16"/>
    <p:sldLayoutId id="2147483652" r:id="rId17"/>
    <p:sldLayoutId id="2147483681" r:id="rId18"/>
    <p:sldLayoutId id="2147483653" r:id="rId19"/>
    <p:sldLayoutId id="2147483654" r:id="rId20"/>
    <p:sldLayoutId id="2147483655" r:id="rId21"/>
    <p:sldLayoutId id="2147483656" r:id="rId22"/>
    <p:sldLayoutId id="2147483657" r:id="rId23"/>
    <p:sldLayoutId id="2147483658" r:id="rId24"/>
    <p:sldLayoutId id="2147483659" r:id="rId25"/>
    <p:sldLayoutId id="2147483660" r:id="rId26"/>
    <p:sldLayoutId id="2147483820" r:id="rId27"/>
    <p:sldLayoutId id="2147483661" r:id="rId28"/>
    <p:sldLayoutId id="2147483662" r:id="rId29"/>
    <p:sldLayoutId id="2147483663" r:id="rId30"/>
    <p:sldLayoutId id="2147483664" r:id="rId31"/>
    <p:sldLayoutId id="2147483665" r:id="rId32"/>
    <p:sldLayoutId id="2147483666" r:id="rId33"/>
    <p:sldLayoutId id="2147483667" r:id="rId34"/>
    <p:sldLayoutId id="2147483691" r:id="rId35"/>
    <p:sldLayoutId id="2147483692" r:id="rId36"/>
    <p:sldLayoutId id="2147483668" r:id="rId37"/>
    <p:sldLayoutId id="2147483669" r:id="rId38"/>
    <p:sldLayoutId id="2147483670" r:id="rId39"/>
    <p:sldLayoutId id="2147483671" r:id="rId40"/>
    <p:sldLayoutId id="2147483672" r:id="rId41"/>
    <p:sldLayoutId id="2147483682" r:id="rId42"/>
    <p:sldLayoutId id="2147483685" r:id="rId43"/>
    <p:sldLayoutId id="2147483684" r:id="rId44"/>
    <p:sldLayoutId id="2147483688" r:id="rId45"/>
    <p:sldLayoutId id="2147483687" r:id="rId46"/>
    <p:sldLayoutId id="2147483686" r:id="rId47"/>
    <p:sldLayoutId id="2147483689" r:id="rId48"/>
    <p:sldLayoutId id="2147483675" r:id="rId49"/>
    <p:sldLayoutId id="2147483814" r:id="rId50"/>
    <p:sldLayoutId id="2147483676" r:id="rId51"/>
    <p:sldLayoutId id="2147483677" r:id="rId52"/>
    <p:sldLayoutId id="2147483678" r:id="rId53"/>
    <p:sldLayoutId id="2147483679" r:id="rId54"/>
    <p:sldLayoutId id="2147483680" r:id="rId55"/>
    <p:sldLayoutId id="2147483693" r:id="rId56"/>
    <p:sldLayoutId id="2147483810" r:id="rId57"/>
    <p:sldLayoutId id="2147483812" r:id="rId58"/>
    <p:sldLayoutId id="2147483813" r:id="rId59"/>
    <p:sldLayoutId id="2147483816" r:id="rId60"/>
    <p:sldLayoutId id="2147483817" r:id="rId61"/>
  </p:sldLayoutIdLst>
  <p:hf hdr="0" ftr="0" dt="0"/>
  <p:txStyles>
    <p:titleStyle>
      <a:lvl1pPr algn="l" defTabSz="2067733" rtl="0" eaLnBrk="1" latinLnBrk="0" hangingPunct="1">
        <a:lnSpc>
          <a:spcPct val="90000"/>
        </a:lnSpc>
        <a:spcBef>
          <a:spcPct val="0"/>
        </a:spcBef>
        <a:buNone/>
        <a:defRPr sz="99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6933" indent="-516933" algn="l" defTabSz="2067733" rtl="0" eaLnBrk="1" latinLnBrk="0" hangingPunct="1">
        <a:lnSpc>
          <a:spcPct val="90000"/>
        </a:lnSpc>
        <a:spcBef>
          <a:spcPts val="2261"/>
        </a:spcBef>
        <a:buFont typeface="Arial" panose="020B0604020202020204" pitchFamily="34" charset="0"/>
        <a:buChar char="•"/>
        <a:defRPr sz="6332" kern="1200">
          <a:solidFill>
            <a:schemeClr val="tx1"/>
          </a:solidFill>
          <a:latin typeface="+mn-lt"/>
          <a:ea typeface="+mn-ea"/>
          <a:cs typeface="+mn-cs"/>
        </a:defRPr>
      </a:lvl1pPr>
      <a:lvl2pPr marL="1550800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5427" kern="1200">
          <a:solidFill>
            <a:schemeClr val="tx1"/>
          </a:solidFill>
          <a:latin typeface="+mn-lt"/>
          <a:ea typeface="+mn-ea"/>
          <a:cs typeface="+mn-cs"/>
        </a:defRPr>
      </a:lvl2pPr>
      <a:lvl3pPr marL="2584666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523" kern="1200">
          <a:solidFill>
            <a:schemeClr val="tx1"/>
          </a:solidFill>
          <a:latin typeface="+mn-lt"/>
          <a:ea typeface="+mn-ea"/>
          <a:cs typeface="+mn-cs"/>
        </a:defRPr>
      </a:lvl3pPr>
      <a:lvl4pPr marL="3618532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4pPr>
      <a:lvl5pPr marL="4652399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5pPr>
      <a:lvl6pPr marL="5686265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6pPr>
      <a:lvl7pPr marL="6720131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7pPr>
      <a:lvl8pPr marL="7753998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8pPr>
      <a:lvl9pPr marL="8787864" indent="-516933" algn="l" defTabSz="2067733" rtl="0" eaLnBrk="1" latinLnBrk="0" hangingPunct="1">
        <a:lnSpc>
          <a:spcPct val="90000"/>
        </a:lnSpc>
        <a:spcBef>
          <a:spcPts val="1131"/>
        </a:spcBef>
        <a:buFont typeface="Arial" panose="020B0604020202020204" pitchFamily="34" charset="0"/>
        <a:buChar char="•"/>
        <a:defRPr sz="40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1pPr>
      <a:lvl2pPr marL="1033866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2pPr>
      <a:lvl3pPr marL="2067733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3pPr>
      <a:lvl4pPr marL="3101599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4pPr>
      <a:lvl5pPr marL="4135465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5pPr>
      <a:lvl6pPr marL="5169332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6pPr>
      <a:lvl7pPr marL="6203198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7pPr>
      <a:lvl8pPr marL="7237065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8pPr>
      <a:lvl9pPr marL="8270931" algn="l" defTabSz="2067733" rtl="0" eaLnBrk="1" latinLnBrk="0" hangingPunct="1">
        <a:defRPr sz="40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4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47.svg"/><Relationship Id="rId17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51.sv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svg"/><Relationship Id="rId11" Type="http://schemas.openxmlformats.org/officeDocument/2006/relationships/image" Target="../media/image46.png"/><Relationship Id="rId5" Type="http://schemas.openxmlformats.org/officeDocument/2006/relationships/image" Target="../media/image5.png"/><Relationship Id="rId15" Type="http://schemas.openxmlformats.org/officeDocument/2006/relationships/image" Target="../media/image50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49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svg"/><Relationship Id="rId3" Type="http://schemas.openxmlformats.org/officeDocument/2006/relationships/image" Target="../media/image85.png"/><Relationship Id="rId7" Type="http://schemas.openxmlformats.org/officeDocument/2006/relationships/image" Target="../media/image89.svg"/><Relationship Id="rId12" Type="http://schemas.openxmlformats.org/officeDocument/2006/relationships/image" Target="../media/image94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8.png"/><Relationship Id="rId11" Type="http://schemas.openxmlformats.org/officeDocument/2006/relationships/image" Target="../media/image93.svg"/><Relationship Id="rId5" Type="http://schemas.openxmlformats.org/officeDocument/2006/relationships/image" Target="../media/image87.svg"/><Relationship Id="rId15" Type="http://schemas.openxmlformats.org/officeDocument/2006/relationships/image" Target="../media/image97.sv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svg"/><Relationship Id="rId14" Type="http://schemas.openxmlformats.org/officeDocument/2006/relationships/image" Target="../media/image9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00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9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svg"/><Relationship Id="rId13" Type="http://schemas.openxmlformats.org/officeDocument/2006/relationships/image" Target="../media/image9.png"/><Relationship Id="rId18" Type="http://schemas.openxmlformats.org/officeDocument/2006/relationships/image" Target="../media/image110.svg"/><Relationship Id="rId26" Type="http://schemas.openxmlformats.org/officeDocument/2006/relationships/image" Target="../media/image6.svg"/><Relationship Id="rId3" Type="http://schemas.openxmlformats.org/officeDocument/2006/relationships/hyperlink" Target="https://panynj.sharepoint.com/sites/DigitalTransformation/Shared%20Documents/DT%20Program/01.%20Strategy/STR-DGT-DGT-XX-ADM-0001-DTVision.docx" TargetMode="External"/><Relationship Id="rId21" Type="http://schemas.openxmlformats.org/officeDocument/2006/relationships/hyperlink" Target="https://panynj.sharepoint.com/sites/DigitalTransformation/Shared%20Documents/DT%20Program/01.%20Strategy/C.%20Data/1.1%20Strategy/STR-ALL-ALL-DAT-DAT-0001-DataGovernanceFrameworkApril21.pptx" TargetMode="External"/><Relationship Id="rId7" Type="http://schemas.openxmlformats.org/officeDocument/2006/relationships/image" Target="../media/image103.png"/><Relationship Id="rId12" Type="http://schemas.openxmlformats.org/officeDocument/2006/relationships/hyperlink" Target="https://panynj.sharepoint.com/sites/DigitalTransformation/Shared%20Documents/DT%20Program/01.%20Strategy/D.%20Technology/STR-DGT-DGT-TEC-TEC-0001-TechVision_Final.pptx" TargetMode="External"/><Relationship Id="rId17" Type="http://schemas.openxmlformats.org/officeDocument/2006/relationships/image" Target="../media/image109.png"/><Relationship Id="rId25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08.svg"/><Relationship Id="rId20" Type="http://schemas.openxmlformats.org/officeDocument/2006/relationships/image" Target="../media/image112.svg"/><Relationship Id="rId29" Type="http://schemas.openxmlformats.org/officeDocument/2006/relationships/image" Target="../media/image114.sv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anynj.sharepoint.com/sites/DigitalTransformation/Shared%20Documents/DT%20Program/04.%20Initiatives/DT1.%20PDS/1.6%20PDS-PMIS/04%20-%20Executive%20Update/INI-XX-XX-PDS-XX-0004-PDS%20Exec%20Update.pptx" TargetMode="External"/><Relationship Id="rId11" Type="http://schemas.openxmlformats.org/officeDocument/2006/relationships/image" Target="../media/image106.svg"/><Relationship Id="rId24" Type="http://schemas.openxmlformats.org/officeDocument/2006/relationships/hyperlink" Target="https://panynj.sharepoint.com/sites/DigitalTransformation/Shared%20Documents/DT%20Program/01.%20Strategy/B.%20Process/STR-ALL-ALL-PRO-PRO-0001-ProcessVision.pptx" TargetMode="External"/><Relationship Id="rId32" Type="http://schemas.openxmlformats.org/officeDocument/2006/relationships/image" Target="../media/image116.svg"/><Relationship Id="rId5" Type="http://schemas.openxmlformats.org/officeDocument/2006/relationships/image" Target="../media/image102.png"/><Relationship Id="rId15" Type="http://schemas.openxmlformats.org/officeDocument/2006/relationships/image" Target="../media/image107.png"/><Relationship Id="rId23" Type="http://schemas.openxmlformats.org/officeDocument/2006/relationships/image" Target="../media/image8.svg"/><Relationship Id="rId28" Type="http://schemas.openxmlformats.org/officeDocument/2006/relationships/image" Target="../media/image113.png"/><Relationship Id="rId10" Type="http://schemas.openxmlformats.org/officeDocument/2006/relationships/image" Target="../media/image105.png"/><Relationship Id="rId19" Type="http://schemas.openxmlformats.org/officeDocument/2006/relationships/image" Target="../media/image111.png"/><Relationship Id="rId31" Type="http://schemas.openxmlformats.org/officeDocument/2006/relationships/image" Target="../media/image115.png"/><Relationship Id="rId4" Type="http://schemas.openxmlformats.org/officeDocument/2006/relationships/image" Target="../media/image101.png"/><Relationship Id="rId9" Type="http://schemas.openxmlformats.org/officeDocument/2006/relationships/hyperlink" Target="https://panynj.sharepoint.com/sites/DigitalTransformation/Shared%20Documents/DT%20Program/04.%20Initiatives/DT4.%20Portal/4.1a%20Portal%20Vision/FUT-OPS-REP-XX-XX-0001-ProjectPortalVision2ndGen.pptx" TargetMode="External"/><Relationship Id="rId14" Type="http://schemas.openxmlformats.org/officeDocument/2006/relationships/image" Target="../media/image10.svg"/><Relationship Id="rId22" Type="http://schemas.openxmlformats.org/officeDocument/2006/relationships/image" Target="../media/image7.png"/><Relationship Id="rId27" Type="http://schemas.openxmlformats.org/officeDocument/2006/relationships/hyperlink" Target="https://panynj.sharepoint.com/sites/DigitalTransformation/Shared%20Documents/DT%20Program/04.%20Initiatives/DT3.%20Geospatial/3.1%20GIS%20Framework/INI-DGT-DGT-GEO-ADM-0001-GeospatialDesignConstruction.pptx" TargetMode="External"/><Relationship Id="rId30" Type="http://schemas.openxmlformats.org/officeDocument/2006/relationships/hyperlink" Target="https://panynj.sharepoint.com/sites/DigitalTransformation/Shared%20Documents/DT%20Program/04.%20Initiatives/DT2.%20VDC/2.6%20VDC%20Vision/FUT-OPS-VDC-XX-XX-0001-VDCGoldenThreadv2.pptx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panynj.sharepoint.com/:b:/r/sites/DigitalTransformation/Shared%20Documents/General/COM-DGT-DGT-XX-XX-0001-DTOverviewJan23Loop.pdf?csf=1&amp;web=1&amp;e=qX7Jlx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4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47.svg"/><Relationship Id="rId17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51.sv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6.svg"/><Relationship Id="rId11" Type="http://schemas.openxmlformats.org/officeDocument/2006/relationships/image" Target="../media/image46.png"/><Relationship Id="rId5" Type="http://schemas.openxmlformats.org/officeDocument/2006/relationships/image" Target="../media/image5.png"/><Relationship Id="rId15" Type="http://schemas.openxmlformats.org/officeDocument/2006/relationships/image" Target="../media/image50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4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6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9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9.sv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svg"/><Relationship Id="rId4" Type="http://schemas.openxmlformats.org/officeDocument/2006/relationships/image" Target="../media/image57.svg"/><Relationship Id="rId9" Type="http://schemas.openxmlformats.org/officeDocument/2006/relationships/image" Target="../media/image62.png"/><Relationship Id="rId14" Type="http://schemas.openxmlformats.org/officeDocument/2006/relationships/image" Target="../media/image6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84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4.sv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5" Type="http://schemas.openxmlformats.org/officeDocument/2006/relationships/image" Target="../media/image83.png"/><Relationship Id="rId10" Type="http://schemas.openxmlformats.org/officeDocument/2006/relationships/image" Target="../media/image78.svg"/><Relationship Id="rId4" Type="http://schemas.openxmlformats.org/officeDocument/2006/relationships/image" Target="../media/image72.svg"/><Relationship Id="rId9" Type="http://schemas.openxmlformats.org/officeDocument/2006/relationships/image" Target="../media/image77.png"/><Relationship Id="rId14" Type="http://schemas.openxmlformats.org/officeDocument/2006/relationships/image" Target="../media/image82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345657-4EC3-481F-B79D-BF4CB68B2E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01670" y="8853550"/>
            <a:ext cx="26768147" cy="744400"/>
          </a:xfrm>
        </p:spPr>
        <p:txBody>
          <a:bodyPr/>
          <a:lstStyle/>
          <a:p>
            <a:r>
              <a:rPr lang="en-US" sz="6000" dirty="0">
                <a:latin typeface="Segoe UI" panose="020B0502040204020203" pitchFamily="34" charset="0"/>
                <a:cs typeface="Segoe UI" panose="020B0502040204020203" pitchFamily="34" charset="0"/>
              </a:rPr>
              <a:t>Sadia Janjua 	Chief of Digital Transformation, Port Authority of NY &amp; NJ</a:t>
            </a:r>
          </a:p>
          <a:p>
            <a:r>
              <a:rPr lang="en-US" sz="6000" dirty="0">
                <a:latin typeface="Segoe UI" panose="020B0502040204020203" pitchFamily="34" charset="0"/>
                <a:cs typeface="Segoe UI" panose="020B0502040204020203" pitchFamily="34" charset="0"/>
              </a:rPr>
              <a:t>Wes Beaumont 	Digital Transformation Advisory Lead, AEC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AE500D-C72B-41C2-8015-40E13657D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01670" y="4650318"/>
            <a:ext cx="27279754" cy="3588814"/>
          </a:xfrm>
        </p:spPr>
        <p:txBody>
          <a:bodyPr>
            <a:normAutofit lnSpcReduction="10000"/>
          </a:bodyPr>
          <a:lstStyle/>
          <a:p>
            <a:r>
              <a:rPr lang="en-US" sz="9600" b="1" dirty="0">
                <a:latin typeface="Segoe UI" panose="020B0502040204020203" pitchFamily="34" charset="0"/>
                <a:cs typeface="Segoe UI" panose="020B0502040204020203" pitchFamily="34" charset="0"/>
              </a:rPr>
              <a:t>New York Build 2024</a:t>
            </a:r>
          </a:p>
          <a:p>
            <a:r>
              <a:rPr lang="en-US" sz="7800" dirty="0">
                <a:latin typeface="Segoe UI" panose="020B0502040204020203" pitchFamily="34" charset="0"/>
                <a:cs typeface="Segoe UI" panose="020B0502040204020203" pitchFamily="34" charset="0"/>
              </a:rPr>
              <a:t>From Digital to Reality: A Case Study of Successful Digital Implementation</a:t>
            </a:r>
            <a:endParaRPr lang="en-US" sz="10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E700F18-83CA-27B5-20D0-D8F8B9F9D9EE}"/>
              </a:ext>
            </a:extLst>
          </p:cNvPr>
          <p:cNvGrpSpPr/>
          <p:nvPr/>
        </p:nvGrpSpPr>
        <p:grpSpPr>
          <a:xfrm>
            <a:off x="25243390" y="877879"/>
            <a:ext cx="3444540" cy="3772439"/>
            <a:chOff x="12210519" y="3928289"/>
            <a:chExt cx="6228545" cy="6821468"/>
          </a:xfrm>
        </p:grpSpPr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3238B69A-DA95-A2EA-3B7C-E26DE259C4B6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869EC9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Parallelogram 27">
              <a:extLst>
                <a:ext uri="{FF2B5EF4-FFF2-40B4-BE49-F238E27FC236}">
                  <a16:creationId xmlns:a16="http://schemas.microsoft.com/office/drawing/2014/main" id="{11D2EDF6-B8A5-AD77-1A58-76BA46E490CF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97ABD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A99A21AB-FA65-300D-334D-1B173C3D88E4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A4B6D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30" name="Graphic 29" descr="Users">
              <a:extLst>
                <a:ext uri="{FF2B5EF4-FFF2-40B4-BE49-F238E27FC236}">
                  <a16:creationId xmlns:a16="http://schemas.microsoft.com/office/drawing/2014/main" id="{511BDD1F-275F-D0FB-6BE6-BDC3086B0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31" name="Graphic 30" descr="Circles with arrows with solid fill">
              <a:extLst>
                <a:ext uri="{FF2B5EF4-FFF2-40B4-BE49-F238E27FC236}">
                  <a16:creationId xmlns:a16="http://schemas.microsoft.com/office/drawing/2014/main" id="{11D21F5D-8DA9-3B57-5D26-78B7F1BEE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32" name="Graphic 31" descr="Bar chart with solid fill">
              <a:extLst>
                <a:ext uri="{FF2B5EF4-FFF2-40B4-BE49-F238E27FC236}">
                  <a16:creationId xmlns:a16="http://schemas.microsoft.com/office/drawing/2014/main" id="{A0000121-1EEF-31CE-3EB2-15A2B48B6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D1F5AAF-37BE-FBE4-FD29-58E273D6E3AA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34" name="Graphic 33" descr="Connections with solid fill">
                <a:extLst>
                  <a:ext uri="{FF2B5EF4-FFF2-40B4-BE49-F238E27FC236}">
                    <a16:creationId xmlns:a16="http://schemas.microsoft.com/office/drawing/2014/main" id="{4C9FA333-809F-B668-B26E-6495EEED94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5EE7C80-1648-71DD-2FD9-5768BF903174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2EA517C-A2E5-4FC3-F68F-D5A7C7BA9CAE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D6FA4B4-6A7C-D264-E876-F2B70D84568C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E0101B9A-424C-9DCE-E108-C2915F29782D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670EF1A-7312-60EF-5912-39524D336F1D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A8AA6284-B9EC-37E0-531A-88EB767AB0A1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1" name="Graphic 40" descr="Ui Ux with solid fill">
                <a:extLst>
                  <a:ext uri="{FF2B5EF4-FFF2-40B4-BE49-F238E27FC236}">
                    <a16:creationId xmlns:a16="http://schemas.microsoft.com/office/drawing/2014/main" id="{F5872BA2-3388-810E-7CC5-B64FAAE597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42" name="Graphic 41" descr="User with solid fill">
                <a:extLst>
                  <a:ext uri="{FF2B5EF4-FFF2-40B4-BE49-F238E27FC236}">
                    <a16:creationId xmlns:a16="http://schemas.microsoft.com/office/drawing/2014/main" id="{8F024DDA-3174-B26A-191C-BB4D98F7FE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3" name="Graphic 42" descr="Wi-Fi with solid fill">
                <a:extLst>
                  <a:ext uri="{FF2B5EF4-FFF2-40B4-BE49-F238E27FC236}">
                    <a16:creationId xmlns:a16="http://schemas.microsoft.com/office/drawing/2014/main" id="{28D23845-EA95-D9F7-7395-5FB5FBC303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44" name="Graphic 43" descr="User with solid fill">
                <a:extLst>
                  <a:ext uri="{FF2B5EF4-FFF2-40B4-BE49-F238E27FC236}">
                    <a16:creationId xmlns:a16="http://schemas.microsoft.com/office/drawing/2014/main" id="{DECD1570-5509-149B-E44D-0618E89631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45" name="Graphic 44" descr="User with solid fill">
                <a:extLst>
                  <a:ext uri="{FF2B5EF4-FFF2-40B4-BE49-F238E27FC236}">
                    <a16:creationId xmlns:a16="http://schemas.microsoft.com/office/drawing/2014/main" id="{9A25AA8C-23A6-461E-DCAA-465C93CC80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46" name="Graphic 45" descr="User with solid fill">
                <a:extLst>
                  <a:ext uri="{FF2B5EF4-FFF2-40B4-BE49-F238E27FC236}">
                    <a16:creationId xmlns:a16="http://schemas.microsoft.com/office/drawing/2014/main" id="{7E34C05A-E312-5CB6-EEEE-92056ED62A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1C5E59D8-EDCD-F8B7-3A08-08F38A7A25B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780959" y="12031490"/>
            <a:ext cx="5424481" cy="127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9555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810181" cy="1447442"/>
          </a:xfrm>
        </p:spPr>
        <p:txBody>
          <a:bodyPr/>
          <a:lstStyle/>
          <a:p>
            <a:r>
              <a:rPr lang="en-US"/>
              <a:t>Digital Transformation Strateg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E90927-43C2-CFFB-F02D-275FA9DFF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6754" y="3514844"/>
            <a:ext cx="11057673" cy="8478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0D1481D-B57C-22EB-5A65-00827014C2BD}"/>
              </a:ext>
            </a:extLst>
          </p:cNvPr>
          <p:cNvSpPr txBox="1"/>
          <p:nvPr/>
        </p:nvSpPr>
        <p:spPr>
          <a:xfrm>
            <a:off x="18300965" y="5905723"/>
            <a:ext cx="843741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400"/>
              <a:t>Designing, building and operating world class infrastructure to help keep the region moving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BFB75A-018B-3F15-ACAB-9E865E16C978}"/>
              </a:ext>
            </a:extLst>
          </p:cNvPr>
          <p:cNvSpPr txBox="1"/>
          <p:nvPr/>
        </p:nvSpPr>
        <p:spPr>
          <a:xfrm>
            <a:off x="14625851" y="4406739"/>
            <a:ext cx="155448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400" b="1"/>
              <a:t>Our Engineering Department</a:t>
            </a:r>
          </a:p>
        </p:txBody>
      </p:sp>
      <p:pic>
        <p:nvPicPr>
          <p:cNvPr id="28" name="Graphic 27" descr="Blueprint outline">
            <a:extLst>
              <a:ext uri="{FF2B5EF4-FFF2-40B4-BE49-F238E27FC236}">
                <a16:creationId xmlns:a16="http://schemas.microsoft.com/office/drawing/2014/main" id="{05331C30-0277-4B4F-5B72-DABF0E13F2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736160" y="9751073"/>
            <a:ext cx="1417320" cy="1417320"/>
          </a:xfrm>
          <a:prstGeom prst="rect">
            <a:avLst/>
          </a:prstGeom>
        </p:spPr>
      </p:pic>
      <p:pic>
        <p:nvPicPr>
          <p:cNvPr id="29" name="Graphic 28" descr="Construction worker male outline">
            <a:extLst>
              <a:ext uri="{FF2B5EF4-FFF2-40B4-BE49-F238E27FC236}">
                <a16:creationId xmlns:a16="http://schemas.microsoft.com/office/drawing/2014/main" id="{D9C3DCBA-C59E-17C5-132A-361F330DC5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901753" y="9773933"/>
            <a:ext cx="1371600" cy="1371600"/>
          </a:xfrm>
          <a:prstGeom prst="rect">
            <a:avLst/>
          </a:prstGeom>
        </p:spPr>
      </p:pic>
      <p:pic>
        <p:nvPicPr>
          <p:cNvPr id="30" name="Graphic 29" descr="Tools outline">
            <a:extLst>
              <a:ext uri="{FF2B5EF4-FFF2-40B4-BE49-F238E27FC236}">
                <a16:creationId xmlns:a16="http://schemas.microsoft.com/office/drawing/2014/main" id="{FDD973AD-D698-BB58-27FA-8EDAA196F0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381245" y="9773933"/>
            <a:ext cx="1371600" cy="1371600"/>
          </a:xfrm>
          <a:prstGeom prst="rect">
            <a:avLst/>
          </a:prstGeom>
        </p:spPr>
      </p:pic>
      <p:pic>
        <p:nvPicPr>
          <p:cNvPr id="31" name="Graphic 30" descr="Board Of Directors outline">
            <a:extLst>
              <a:ext uri="{FF2B5EF4-FFF2-40B4-BE49-F238E27FC236}">
                <a16:creationId xmlns:a16="http://schemas.microsoft.com/office/drawing/2014/main" id="{676F94CB-68F1-A9B2-6AA1-3D5B29928D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021626" y="9773933"/>
            <a:ext cx="1371600" cy="1371600"/>
          </a:xfrm>
          <a:prstGeom prst="rect">
            <a:avLst/>
          </a:prstGeom>
        </p:spPr>
      </p:pic>
      <p:pic>
        <p:nvPicPr>
          <p:cNvPr id="32" name="Graphic 31" descr="Magnifying glass outline">
            <a:extLst>
              <a:ext uri="{FF2B5EF4-FFF2-40B4-BE49-F238E27FC236}">
                <a16:creationId xmlns:a16="http://schemas.microsoft.com/office/drawing/2014/main" id="{ED6E9AB2-3ACD-BBCA-8233-76BF513629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3141499" y="9773933"/>
            <a:ext cx="1371600" cy="1371600"/>
          </a:xfrm>
          <a:prstGeom prst="rect">
            <a:avLst/>
          </a:prstGeom>
        </p:spPr>
      </p:pic>
      <p:pic>
        <p:nvPicPr>
          <p:cNvPr id="33" name="Graphic 32" descr="List outline">
            <a:extLst>
              <a:ext uri="{FF2B5EF4-FFF2-40B4-BE49-F238E27FC236}">
                <a16:creationId xmlns:a16="http://schemas.microsoft.com/office/drawing/2014/main" id="{800BA5A0-F78C-F116-2586-97316580E38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261372" y="9773933"/>
            <a:ext cx="1371600" cy="1371600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C50C0B8A-5219-61FF-8F0C-7CF500C22F59}"/>
              </a:ext>
            </a:extLst>
          </p:cNvPr>
          <p:cNvGrpSpPr>
            <a:grpSpLocks noChangeAspect="1"/>
          </p:cNvGrpSpPr>
          <p:nvPr/>
        </p:nvGrpSpPr>
        <p:grpSpPr>
          <a:xfrm>
            <a:off x="6506901" y="2729739"/>
            <a:ext cx="18075798" cy="7487402"/>
            <a:chOff x="7885566" y="3687436"/>
            <a:chExt cx="15318473" cy="6345256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C3F2889-BCEA-CC40-1B87-910FE46C822C}"/>
                </a:ext>
              </a:extLst>
            </p:cNvPr>
            <p:cNvSpPr/>
            <p:nvPr/>
          </p:nvSpPr>
          <p:spPr>
            <a:xfrm>
              <a:off x="7885566" y="3813978"/>
              <a:ext cx="6898197" cy="2874127"/>
            </a:xfrm>
            <a:custGeom>
              <a:avLst/>
              <a:gdLst>
                <a:gd name="connsiteX0" fmla="*/ 1019791 w 4895203"/>
                <a:gd name="connsiteY0" fmla="*/ 0 h 2039582"/>
                <a:gd name="connsiteX1" fmla="*/ 4895203 w 4895203"/>
                <a:gd name="connsiteY1" fmla="*/ 0 h 2039582"/>
                <a:gd name="connsiteX2" fmla="*/ 4895203 w 4895203"/>
                <a:gd name="connsiteY2" fmla="*/ 2039582 h 2039582"/>
                <a:gd name="connsiteX3" fmla="*/ 1019791 w 4895203"/>
                <a:gd name="connsiteY3" fmla="*/ 2039582 h 2039582"/>
                <a:gd name="connsiteX4" fmla="*/ 0 w 4895203"/>
                <a:gd name="connsiteY4" fmla="*/ 1019791 h 2039582"/>
                <a:gd name="connsiteX5" fmla="*/ 1019791 w 4895203"/>
                <a:gd name="connsiteY5" fmla="*/ 0 h 203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95203" h="2039582">
                  <a:moveTo>
                    <a:pt x="1019791" y="0"/>
                  </a:moveTo>
                  <a:lnTo>
                    <a:pt x="4895203" y="0"/>
                  </a:lnTo>
                  <a:lnTo>
                    <a:pt x="4895203" y="2039582"/>
                  </a:lnTo>
                  <a:lnTo>
                    <a:pt x="1019791" y="2039582"/>
                  </a:lnTo>
                  <a:cubicBezTo>
                    <a:pt x="456576" y="2039582"/>
                    <a:pt x="0" y="1583006"/>
                    <a:pt x="0" y="1019791"/>
                  </a:cubicBezTo>
                  <a:cubicBezTo>
                    <a:pt x="0" y="456576"/>
                    <a:pt x="456576" y="0"/>
                    <a:pt x="1019791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43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74A7C5E-E1BC-194C-1A25-796465AABA8E}"/>
                </a:ext>
              </a:extLst>
            </p:cNvPr>
            <p:cNvSpPr/>
            <p:nvPr/>
          </p:nvSpPr>
          <p:spPr>
            <a:xfrm>
              <a:off x="16305841" y="3813978"/>
              <a:ext cx="6898198" cy="2874127"/>
            </a:xfrm>
            <a:custGeom>
              <a:avLst/>
              <a:gdLst>
                <a:gd name="connsiteX0" fmla="*/ 0 w 4895204"/>
                <a:gd name="connsiteY0" fmla="*/ 0 h 2039582"/>
                <a:gd name="connsiteX1" fmla="*/ 3875413 w 4895204"/>
                <a:gd name="connsiteY1" fmla="*/ 0 h 2039582"/>
                <a:gd name="connsiteX2" fmla="*/ 4895204 w 4895204"/>
                <a:gd name="connsiteY2" fmla="*/ 1019791 h 2039582"/>
                <a:gd name="connsiteX3" fmla="*/ 3875413 w 4895204"/>
                <a:gd name="connsiteY3" fmla="*/ 2039582 h 2039582"/>
                <a:gd name="connsiteX4" fmla="*/ 0 w 4895204"/>
                <a:gd name="connsiteY4" fmla="*/ 2039582 h 2039582"/>
                <a:gd name="connsiteX5" fmla="*/ 0 w 4895204"/>
                <a:gd name="connsiteY5" fmla="*/ 0 h 203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95204" h="2039582">
                  <a:moveTo>
                    <a:pt x="0" y="0"/>
                  </a:moveTo>
                  <a:lnTo>
                    <a:pt x="3875413" y="0"/>
                  </a:lnTo>
                  <a:cubicBezTo>
                    <a:pt x="4438628" y="0"/>
                    <a:pt x="4895204" y="456576"/>
                    <a:pt x="4895204" y="1019791"/>
                  </a:cubicBezTo>
                  <a:cubicBezTo>
                    <a:pt x="4895204" y="1583006"/>
                    <a:pt x="4438628" y="2039582"/>
                    <a:pt x="3875413" y="2039582"/>
                  </a:cubicBezTo>
                  <a:lnTo>
                    <a:pt x="0" y="2039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43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9037953-6C72-56C0-13ED-158D6D46E455}"/>
                </a:ext>
              </a:extLst>
            </p:cNvPr>
            <p:cNvSpPr/>
            <p:nvPr/>
          </p:nvSpPr>
          <p:spPr>
            <a:xfrm>
              <a:off x="7885566" y="7021225"/>
              <a:ext cx="6898197" cy="2874127"/>
            </a:xfrm>
            <a:custGeom>
              <a:avLst/>
              <a:gdLst>
                <a:gd name="connsiteX0" fmla="*/ 1019791 w 4895203"/>
                <a:gd name="connsiteY0" fmla="*/ 0 h 2039582"/>
                <a:gd name="connsiteX1" fmla="*/ 4895203 w 4895203"/>
                <a:gd name="connsiteY1" fmla="*/ 0 h 2039582"/>
                <a:gd name="connsiteX2" fmla="*/ 4895203 w 4895203"/>
                <a:gd name="connsiteY2" fmla="*/ 2039582 h 2039582"/>
                <a:gd name="connsiteX3" fmla="*/ 1019791 w 4895203"/>
                <a:gd name="connsiteY3" fmla="*/ 2039582 h 2039582"/>
                <a:gd name="connsiteX4" fmla="*/ 0 w 4895203"/>
                <a:gd name="connsiteY4" fmla="*/ 1019791 h 2039582"/>
                <a:gd name="connsiteX5" fmla="*/ 1019791 w 4895203"/>
                <a:gd name="connsiteY5" fmla="*/ 0 h 203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95203" h="2039582">
                  <a:moveTo>
                    <a:pt x="1019791" y="0"/>
                  </a:moveTo>
                  <a:lnTo>
                    <a:pt x="4895203" y="0"/>
                  </a:lnTo>
                  <a:lnTo>
                    <a:pt x="4895203" y="2039582"/>
                  </a:lnTo>
                  <a:lnTo>
                    <a:pt x="1019791" y="2039582"/>
                  </a:lnTo>
                  <a:cubicBezTo>
                    <a:pt x="456576" y="2039582"/>
                    <a:pt x="0" y="1583006"/>
                    <a:pt x="0" y="1019791"/>
                  </a:cubicBezTo>
                  <a:cubicBezTo>
                    <a:pt x="0" y="456576"/>
                    <a:pt x="456576" y="0"/>
                    <a:pt x="1019791" y="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43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3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DDFD3F5-EDCE-5FED-A373-70741C5F9E88}"/>
                </a:ext>
              </a:extLst>
            </p:cNvPr>
            <p:cNvSpPr/>
            <p:nvPr/>
          </p:nvSpPr>
          <p:spPr>
            <a:xfrm>
              <a:off x="16305841" y="7021225"/>
              <a:ext cx="6898198" cy="2874127"/>
            </a:xfrm>
            <a:custGeom>
              <a:avLst/>
              <a:gdLst>
                <a:gd name="connsiteX0" fmla="*/ 0 w 4895204"/>
                <a:gd name="connsiteY0" fmla="*/ 0 h 2039582"/>
                <a:gd name="connsiteX1" fmla="*/ 3875413 w 4895204"/>
                <a:gd name="connsiteY1" fmla="*/ 0 h 2039582"/>
                <a:gd name="connsiteX2" fmla="*/ 4895204 w 4895204"/>
                <a:gd name="connsiteY2" fmla="*/ 1019791 h 2039582"/>
                <a:gd name="connsiteX3" fmla="*/ 3875413 w 4895204"/>
                <a:gd name="connsiteY3" fmla="*/ 2039582 h 2039582"/>
                <a:gd name="connsiteX4" fmla="*/ 0 w 4895204"/>
                <a:gd name="connsiteY4" fmla="*/ 2039582 h 2039582"/>
                <a:gd name="connsiteX5" fmla="*/ 0 w 4895204"/>
                <a:gd name="connsiteY5" fmla="*/ 0 h 2039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95204" h="2039582">
                  <a:moveTo>
                    <a:pt x="0" y="0"/>
                  </a:moveTo>
                  <a:lnTo>
                    <a:pt x="3875413" y="0"/>
                  </a:lnTo>
                  <a:cubicBezTo>
                    <a:pt x="4438628" y="0"/>
                    <a:pt x="4895204" y="456576"/>
                    <a:pt x="4895204" y="1019791"/>
                  </a:cubicBezTo>
                  <a:cubicBezTo>
                    <a:pt x="4895204" y="1583006"/>
                    <a:pt x="4438628" y="2039582"/>
                    <a:pt x="3875413" y="2039582"/>
                  </a:cubicBezTo>
                  <a:lnTo>
                    <a:pt x="0" y="20395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43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6F26B7B-9ACD-AB41-49DD-C41BC1038208}"/>
                </a:ext>
              </a:extLst>
            </p:cNvPr>
            <p:cNvGrpSpPr/>
            <p:nvPr/>
          </p:nvGrpSpPr>
          <p:grpSpPr>
            <a:xfrm>
              <a:off x="12372170" y="3687436"/>
              <a:ext cx="6345259" cy="6345256"/>
              <a:chOff x="3843001" y="1516590"/>
              <a:chExt cx="4502819" cy="4502817"/>
            </a:xfrm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/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02298F33-46CF-20CB-AEC1-EFB7C73ADAE3}"/>
                  </a:ext>
                </a:extLst>
              </p:cNvPr>
              <p:cNvSpPr/>
              <p:nvPr/>
            </p:nvSpPr>
            <p:spPr>
              <a:xfrm>
                <a:off x="3843001" y="1516590"/>
                <a:ext cx="2162896" cy="2162895"/>
              </a:xfrm>
              <a:custGeom>
                <a:avLst/>
                <a:gdLst>
                  <a:gd name="connsiteX0" fmla="*/ 2162896 w 2162896"/>
                  <a:gd name="connsiteY0" fmla="*/ 0 h 2162895"/>
                  <a:gd name="connsiteX1" fmla="*/ 2162896 w 2162896"/>
                  <a:gd name="connsiteY1" fmla="*/ 2162895 h 2162895"/>
                  <a:gd name="connsiteX2" fmla="*/ 0 w 2162896"/>
                  <a:gd name="connsiteY2" fmla="*/ 2162895 h 2162895"/>
                  <a:gd name="connsiteX3" fmla="*/ 7178 w 2162896"/>
                  <a:gd name="connsiteY3" fmla="*/ 2020758 h 2162895"/>
                  <a:gd name="connsiteX4" fmla="*/ 2020759 w 2162896"/>
                  <a:gd name="connsiteY4" fmla="*/ 7177 h 2162895"/>
                  <a:gd name="connsiteX5" fmla="*/ 2162896 w 2162896"/>
                  <a:gd name="connsiteY5" fmla="*/ 0 h 216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2896" h="2162895">
                    <a:moveTo>
                      <a:pt x="2162896" y="0"/>
                    </a:moveTo>
                    <a:lnTo>
                      <a:pt x="2162896" y="2162895"/>
                    </a:lnTo>
                    <a:lnTo>
                      <a:pt x="0" y="2162895"/>
                    </a:lnTo>
                    <a:lnTo>
                      <a:pt x="7178" y="2020758"/>
                    </a:lnTo>
                    <a:cubicBezTo>
                      <a:pt x="115000" y="959054"/>
                      <a:pt x="959054" y="114999"/>
                      <a:pt x="2020759" y="7177"/>
                    </a:cubicBezTo>
                    <a:lnTo>
                      <a:pt x="216289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7000">
                    <a:schemeClr val="accent1">
                      <a:tint val="44500"/>
                      <a:satMod val="160000"/>
                    </a:schemeClr>
                  </a:gs>
                  <a:gs pos="57000">
                    <a:schemeClr val="accent1">
                      <a:tint val="23500"/>
                      <a:satMod val="160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D3E8EDE1-AD5C-245B-A2F9-1F845966D458}"/>
                  </a:ext>
                </a:extLst>
              </p:cNvPr>
              <p:cNvSpPr/>
              <p:nvPr/>
            </p:nvSpPr>
            <p:spPr>
              <a:xfrm>
                <a:off x="6182925" y="1516590"/>
                <a:ext cx="2162895" cy="2162895"/>
              </a:xfrm>
              <a:custGeom>
                <a:avLst/>
                <a:gdLst>
                  <a:gd name="connsiteX0" fmla="*/ 0 w 2162895"/>
                  <a:gd name="connsiteY0" fmla="*/ 0 h 2162895"/>
                  <a:gd name="connsiteX1" fmla="*/ 142136 w 2162895"/>
                  <a:gd name="connsiteY1" fmla="*/ 7177 h 2162895"/>
                  <a:gd name="connsiteX2" fmla="*/ 2155717 w 2162895"/>
                  <a:gd name="connsiteY2" fmla="*/ 2020758 h 2162895"/>
                  <a:gd name="connsiteX3" fmla="*/ 2162895 w 2162895"/>
                  <a:gd name="connsiteY3" fmla="*/ 2162895 h 2162895"/>
                  <a:gd name="connsiteX4" fmla="*/ 0 w 2162895"/>
                  <a:gd name="connsiteY4" fmla="*/ 2162895 h 2162895"/>
                  <a:gd name="connsiteX5" fmla="*/ 0 w 2162895"/>
                  <a:gd name="connsiteY5" fmla="*/ 0 h 216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2895" h="2162895">
                    <a:moveTo>
                      <a:pt x="0" y="0"/>
                    </a:moveTo>
                    <a:lnTo>
                      <a:pt x="142136" y="7177"/>
                    </a:lnTo>
                    <a:cubicBezTo>
                      <a:pt x="1203841" y="114999"/>
                      <a:pt x="2047895" y="959054"/>
                      <a:pt x="2155717" y="2020758"/>
                    </a:cubicBezTo>
                    <a:lnTo>
                      <a:pt x="2162895" y="2162895"/>
                    </a:lnTo>
                    <a:lnTo>
                      <a:pt x="0" y="216289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7000">
                    <a:schemeClr val="accent1">
                      <a:tint val="44500"/>
                      <a:satMod val="160000"/>
                    </a:schemeClr>
                  </a:gs>
                  <a:gs pos="57000">
                    <a:schemeClr val="accent1">
                      <a:tint val="23500"/>
                      <a:satMod val="160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CDEA915-86F2-763F-D72F-DE8A4CC4223F}"/>
                  </a:ext>
                </a:extLst>
              </p:cNvPr>
              <p:cNvSpPr/>
              <p:nvPr/>
            </p:nvSpPr>
            <p:spPr>
              <a:xfrm>
                <a:off x="3843003" y="3856512"/>
                <a:ext cx="2162895" cy="2162895"/>
              </a:xfrm>
              <a:custGeom>
                <a:avLst/>
                <a:gdLst>
                  <a:gd name="connsiteX0" fmla="*/ 0 w 2162895"/>
                  <a:gd name="connsiteY0" fmla="*/ 0 h 2162895"/>
                  <a:gd name="connsiteX1" fmla="*/ 2162895 w 2162895"/>
                  <a:gd name="connsiteY1" fmla="*/ 0 h 2162895"/>
                  <a:gd name="connsiteX2" fmla="*/ 2162895 w 2162895"/>
                  <a:gd name="connsiteY2" fmla="*/ 2162895 h 2162895"/>
                  <a:gd name="connsiteX3" fmla="*/ 2020758 w 2162895"/>
                  <a:gd name="connsiteY3" fmla="*/ 2155717 h 2162895"/>
                  <a:gd name="connsiteX4" fmla="*/ 7177 w 2162895"/>
                  <a:gd name="connsiteY4" fmla="*/ 142136 h 2162895"/>
                  <a:gd name="connsiteX5" fmla="*/ 0 w 2162895"/>
                  <a:gd name="connsiteY5" fmla="*/ 0 h 216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2895" h="2162895">
                    <a:moveTo>
                      <a:pt x="0" y="0"/>
                    </a:moveTo>
                    <a:lnTo>
                      <a:pt x="2162895" y="0"/>
                    </a:lnTo>
                    <a:lnTo>
                      <a:pt x="2162895" y="2162895"/>
                    </a:lnTo>
                    <a:lnTo>
                      <a:pt x="2020758" y="2155717"/>
                    </a:lnTo>
                    <a:cubicBezTo>
                      <a:pt x="959053" y="2047895"/>
                      <a:pt x="114999" y="1203841"/>
                      <a:pt x="7177" y="142136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FEEF7247-A0E5-F074-55E2-7820990C6810}"/>
                  </a:ext>
                </a:extLst>
              </p:cNvPr>
              <p:cNvSpPr/>
              <p:nvPr/>
            </p:nvSpPr>
            <p:spPr>
              <a:xfrm>
                <a:off x="6182925" y="3856512"/>
                <a:ext cx="2162895" cy="2162895"/>
              </a:xfrm>
              <a:custGeom>
                <a:avLst/>
                <a:gdLst>
                  <a:gd name="connsiteX0" fmla="*/ 0 w 2162895"/>
                  <a:gd name="connsiteY0" fmla="*/ 0 h 2162895"/>
                  <a:gd name="connsiteX1" fmla="*/ 2162895 w 2162895"/>
                  <a:gd name="connsiteY1" fmla="*/ 0 h 2162895"/>
                  <a:gd name="connsiteX2" fmla="*/ 2155717 w 2162895"/>
                  <a:gd name="connsiteY2" fmla="*/ 142136 h 2162895"/>
                  <a:gd name="connsiteX3" fmla="*/ 142136 w 2162895"/>
                  <a:gd name="connsiteY3" fmla="*/ 2155717 h 2162895"/>
                  <a:gd name="connsiteX4" fmla="*/ 0 w 2162895"/>
                  <a:gd name="connsiteY4" fmla="*/ 2162895 h 2162895"/>
                  <a:gd name="connsiteX5" fmla="*/ 0 w 2162895"/>
                  <a:gd name="connsiteY5" fmla="*/ 0 h 216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2895" h="2162895">
                    <a:moveTo>
                      <a:pt x="0" y="0"/>
                    </a:moveTo>
                    <a:lnTo>
                      <a:pt x="2162895" y="0"/>
                    </a:lnTo>
                    <a:lnTo>
                      <a:pt x="2155717" y="142136"/>
                    </a:lnTo>
                    <a:cubicBezTo>
                      <a:pt x="2047895" y="1203841"/>
                      <a:pt x="1203841" y="2047895"/>
                      <a:pt x="142136" y="2155717"/>
                    </a:cubicBezTo>
                    <a:lnTo>
                      <a:pt x="0" y="2162895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8D38B1E-8E52-1A86-757E-C2D5906D4B83}"/>
                </a:ext>
              </a:extLst>
            </p:cNvPr>
            <p:cNvSpPr/>
            <p:nvPr/>
          </p:nvSpPr>
          <p:spPr>
            <a:xfrm>
              <a:off x="19270367" y="4297339"/>
              <a:ext cx="3361681" cy="1904042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r>
                <a:rPr lang="en-IN" sz="2800">
                  <a:solidFill>
                    <a:schemeClr val="tx1">
                      <a:lumMod val="50000"/>
                      <a:lumOff val="50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Establish a revamped project delivery system with clear roles, responsibilities and processes.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E3D217A-60ED-F7A8-C600-A0EC7ACD58F5}"/>
                </a:ext>
              </a:extLst>
            </p:cNvPr>
            <p:cNvSpPr/>
            <p:nvPr/>
          </p:nvSpPr>
          <p:spPr>
            <a:xfrm>
              <a:off x="14289438" y="5585854"/>
              <a:ext cx="2510727" cy="25107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79400" dist="38100" dir="5400000" algn="t" rotWithShape="0">
                <a:prstClr val="black">
                  <a:alpha val="1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82A7442-8F99-6E2F-0DF5-6BBDB9CE8A28}"/>
                </a:ext>
              </a:extLst>
            </p:cNvPr>
            <p:cNvSpPr/>
            <p:nvPr/>
          </p:nvSpPr>
          <p:spPr>
            <a:xfrm>
              <a:off x="19270367" y="7421757"/>
              <a:ext cx="3361681" cy="1904042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r>
                <a:rPr lang="en-IN" sz="2800">
                  <a:solidFill>
                    <a:schemeClr val="tx1">
                      <a:lumMod val="50000"/>
                      <a:lumOff val="50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Develop a culture where continuous improvement is the norm and ideas are celebrated and developed.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F875982-7FFC-440A-CE49-B0172EBD45B9}"/>
                </a:ext>
              </a:extLst>
            </p:cNvPr>
            <p:cNvSpPr/>
            <p:nvPr/>
          </p:nvSpPr>
          <p:spPr>
            <a:xfrm>
              <a:off x="8457557" y="4479544"/>
              <a:ext cx="3361675" cy="1538883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pPr algn="r"/>
              <a:r>
                <a:rPr lang="en-IN" sz="2800">
                  <a:solidFill>
                    <a:schemeClr val="tx1">
                      <a:lumMod val="50000"/>
                      <a:lumOff val="50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Digitize our department with a data pipeline to support automation and decision making.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C05C77-C0E3-B594-842D-A67F5543EDD2}"/>
                </a:ext>
              </a:extLst>
            </p:cNvPr>
            <p:cNvSpPr/>
            <p:nvPr/>
          </p:nvSpPr>
          <p:spPr>
            <a:xfrm>
              <a:off x="8457557" y="7688536"/>
              <a:ext cx="3361675" cy="1538883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pPr algn="r"/>
              <a:r>
                <a:rPr lang="en-IN" sz="2800">
                  <a:solidFill>
                    <a:schemeClr val="tx1">
                      <a:lumMod val="50000"/>
                      <a:lumOff val="50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Connect our people, and our line departments to improve collaboration  and shared thinking.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990C049-B418-DDF4-7684-FE17ED1B2D99}"/>
                </a:ext>
              </a:extLst>
            </p:cNvPr>
            <p:cNvSpPr txBox="1"/>
            <p:nvPr/>
          </p:nvSpPr>
          <p:spPr>
            <a:xfrm rot="19038286">
              <a:off x="12809120" y="4791965"/>
              <a:ext cx="2678833" cy="1167445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IN" sz="280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Digitize and Automate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5718DCF-2C3D-1214-8E96-AC5174DFA22F}"/>
                </a:ext>
              </a:extLst>
            </p:cNvPr>
            <p:cNvSpPr txBox="1"/>
            <p:nvPr/>
          </p:nvSpPr>
          <p:spPr>
            <a:xfrm rot="2591895">
              <a:off x="15622873" y="4751692"/>
              <a:ext cx="2717418" cy="1280301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0913587"/>
                </a:avLst>
              </a:prstTxWarp>
              <a:spAutoFit/>
            </a:bodyPr>
            <a:lstStyle/>
            <a:p>
              <a:pPr algn="ctr"/>
              <a:r>
                <a:rPr lang="en-IN" sz="280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oject Delivery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FCCCE44-4088-06F2-7B6D-88EC64FDD538}"/>
                </a:ext>
              </a:extLst>
            </p:cNvPr>
            <p:cNvSpPr txBox="1"/>
            <p:nvPr/>
          </p:nvSpPr>
          <p:spPr>
            <a:xfrm rot="2934330">
              <a:off x="12673555" y="7780190"/>
              <a:ext cx="2678833" cy="105559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IN" sz="280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Customer Experienc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DEE0821-EFAE-A5A6-F720-23CBBAD87D95}"/>
                </a:ext>
              </a:extLst>
            </p:cNvPr>
            <p:cNvSpPr txBox="1"/>
            <p:nvPr/>
          </p:nvSpPr>
          <p:spPr>
            <a:xfrm rot="18805493">
              <a:off x="15713095" y="7714357"/>
              <a:ext cx="2678833" cy="1219121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IN" sz="2800">
                  <a:solidFill>
                    <a:schemeClr val="tx1">
                      <a:lumMod val="85000"/>
                      <a:lumOff val="15000"/>
                    </a:schemeClr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Culture of Innovation</a:t>
              </a:r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627EE6E5-5283-9DCE-180E-A95D3405F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77334" y="5166607"/>
              <a:ext cx="748813" cy="569419"/>
            </a:xfrm>
            <a:custGeom>
              <a:avLst/>
              <a:gdLst>
                <a:gd name="T0" fmla="*/ 300 w 2048"/>
                <a:gd name="T1" fmla="*/ 600 h 1560"/>
                <a:gd name="T2" fmla="*/ 300 w 2048"/>
                <a:gd name="T3" fmla="*/ 960 h 1560"/>
                <a:gd name="T4" fmla="*/ 0 w 2048"/>
                <a:gd name="T5" fmla="*/ 1560 h 1560"/>
                <a:gd name="T6" fmla="*/ 2048 w 2048"/>
                <a:gd name="T7" fmla="*/ 960 h 1560"/>
                <a:gd name="T8" fmla="*/ 1837 w 2048"/>
                <a:gd name="T9" fmla="*/ 923 h 1560"/>
                <a:gd name="T10" fmla="*/ 1837 w 2048"/>
                <a:gd name="T11" fmla="*/ 637 h 1560"/>
                <a:gd name="T12" fmla="*/ 2048 w 2048"/>
                <a:gd name="T13" fmla="*/ 600 h 1560"/>
                <a:gd name="T14" fmla="*/ 0 w 2048"/>
                <a:gd name="T15" fmla="*/ 0 h 1560"/>
                <a:gd name="T16" fmla="*/ 360 w 2048"/>
                <a:gd name="T17" fmla="*/ 480 h 1560"/>
                <a:gd name="T18" fmla="*/ 1688 w 2048"/>
                <a:gd name="T19" fmla="*/ 120 h 1560"/>
                <a:gd name="T20" fmla="*/ 360 w 2048"/>
                <a:gd name="T21" fmla="*/ 480 h 1560"/>
                <a:gd name="T22" fmla="*/ 960 w 2048"/>
                <a:gd name="T23" fmla="*/ 1148 h 1560"/>
                <a:gd name="T24" fmla="*/ 720 w 2048"/>
                <a:gd name="T25" fmla="*/ 1148 h 1560"/>
                <a:gd name="T26" fmla="*/ 960 w 2048"/>
                <a:gd name="T27" fmla="*/ 840 h 1560"/>
                <a:gd name="T28" fmla="*/ 1080 w 2048"/>
                <a:gd name="T29" fmla="*/ 1372 h 1560"/>
                <a:gd name="T30" fmla="*/ 1688 w 2048"/>
                <a:gd name="T31" fmla="*/ 1080 h 1560"/>
                <a:gd name="T32" fmla="*/ 360 w 2048"/>
                <a:gd name="T33" fmla="*/ 1440 h 1560"/>
                <a:gd name="T34" fmla="*/ 600 w 2048"/>
                <a:gd name="T35" fmla="*/ 1080 h 1560"/>
                <a:gd name="T36" fmla="*/ 840 w 2048"/>
                <a:gd name="T37" fmla="*/ 1212 h 1560"/>
                <a:gd name="T38" fmla="*/ 240 w 2048"/>
                <a:gd name="T39" fmla="*/ 1080 h 1560"/>
                <a:gd name="T40" fmla="*/ 120 w 2048"/>
                <a:gd name="T41" fmla="*/ 1440 h 1560"/>
                <a:gd name="T42" fmla="*/ 1928 w 2048"/>
                <a:gd name="T43" fmla="*/ 1080 h 1560"/>
                <a:gd name="T44" fmla="*/ 1808 w 2048"/>
                <a:gd name="T45" fmla="*/ 1440 h 1560"/>
                <a:gd name="T46" fmla="*/ 1928 w 2048"/>
                <a:gd name="T47" fmla="*/ 1080 h 1560"/>
                <a:gd name="T48" fmla="*/ 1080 w 2048"/>
                <a:gd name="T49" fmla="*/ 960 h 1560"/>
                <a:gd name="T50" fmla="*/ 1448 w 2048"/>
                <a:gd name="T51" fmla="*/ 840 h 1560"/>
                <a:gd name="T52" fmla="*/ 600 w 2048"/>
                <a:gd name="T53" fmla="*/ 720 h 1560"/>
                <a:gd name="T54" fmla="*/ 540 w 2048"/>
                <a:gd name="T55" fmla="*/ 960 h 1560"/>
                <a:gd name="T56" fmla="*/ 540 w 2048"/>
                <a:gd name="T57" fmla="*/ 600 h 1560"/>
                <a:gd name="T58" fmla="*/ 1688 w 2048"/>
                <a:gd name="T59" fmla="*/ 780 h 1560"/>
                <a:gd name="T60" fmla="*/ 1928 w 2048"/>
                <a:gd name="T61" fmla="*/ 480 h 1560"/>
                <a:gd name="T62" fmla="*/ 1808 w 2048"/>
                <a:gd name="T63" fmla="*/ 120 h 1560"/>
                <a:gd name="T64" fmla="*/ 1928 w 2048"/>
                <a:gd name="T65" fmla="*/ 480 h 1560"/>
                <a:gd name="T66" fmla="*/ 240 w 2048"/>
                <a:gd name="T67" fmla="*/ 120 h 1560"/>
                <a:gd name="T68" fmla="*/ 120 w 2048"/>
                <a:gd name="T69" fmla="*/ 48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60">
                  <a:moveTo>
                    <a:pt x="0" y="600"/>
                  </a:moveTo>
                  <a:cubicBezTo>
                    <a:pt x="300" y="600"/>
                    <a:pt x="300" y="600"/>
                    <a:pt x="300" y="600"/>
                  </a:cubicBezTo>
                  <a:cubicBezTo>
                    <a:pt x="262" y="650"/>
                    <a:pt x="240" y="713"/>
                    <a:pt x="240" y="780"/>
                  </a:cubicBezTo>
                  <a:cubicBezTo>
                    <a:pt x="240" y="847"/>
                    <a:pt x="262" y="910"/>
                    <a:pt x="300" y="960"/>
                  </a:cubicBezTo>
                  <a:cubicBezTo>
                    <a:pt x="0" y="960"/>
                    <a:pt x="0" y="960"/>
                    <a:pt x="0" y="960"/>
                  </a:cubicBezTo>
                  <a:cubicBezTo>
                    <a:pt x="0" y="1560"/>
                    <a:pt x="0" y="1560"/>
                    <a:pt x="0" y="1560"/>
                  </a:cubicBezTo>
                  <a:cubicBezTo>
                    <a:pt x="2048" y="1560"/>
                    <a:pt x="2048" y="1560"/>
                    <a:pt x="2048" y="1560"/>
                  </a:cubicBezTo>
                  <a:cubicBezTo>
                    <a:pt x="2048" y="960"/>
                    <a:pt x="2048" y="960"/>
                    <a:pt x="2048" y="960"/>
                  </a:cubicBezTo>
                  <a:cubicBezTo>
                    <a:pt x="1868" y="960"/>
                    <a:pt x="1868" y="960"/>
                    <a:pt x="1868" y="960"/>
                  </a:cubicBezTo>
                  <a:cubicBezTo>
                    <a:pt x="1866" y="960"/>
                    <a:pt x="1852" y="954"/>
                    <a:pt x="1837" y="923"/>
                  </a:cubicBezTo>
                  <a:cubicBezTo>
                    <a:pt x="1819" y="886"/>
                    <a:pt x="1808" y="834"/>
                    <a:pt x="1808" y="780"/>
                  </a:cubicBezTo>
                  <a:cubicBezTo>
                    <a:pt x="1808" y="726"/>
                    <a:pt x="1819" y="674"/>
                    <a:pt x="1837" y="637"/>
                  </a:cubicBezTo>
                  <a:cubicBezTo>
                    <a:pt x="1852" y="606"/>
                    <a:pt x="1866" y="600"/>
                    <a:pt x="1868" y="600"/>
                  </a:cubicBezTo>
                  <a:cubicBezTo>
                    <a:pt x="2048" y="600"/>
                    <a:pt x="2048" y="600"/>
                    <a:pt x="2048" y="600"/>
                  </a:cubicBezTo>
                  <a:cubicBezTo>
                    <a:pt x="2048" y="541"/>
                    <a:pt x="2048" y="68"/>
                    <a:pt x="204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0"/>
                  </a:lnTo>
                  <a:close/>
                  <a:moveTo>
                    <a:pt x="360" y="480"/>
                  </a:moveTo>
                  <a:cubicBezTo>
                    <a:pt x="360" y="120"/>
                    <a:pt x="360" y="120"/>
                    <a:pt x="360" y="120"/>
                  </a:cubicBezTo>
                  <a:cubicBezTo>
                    <a:pt x="1688" y="120"/>
                    <a:pt x="1688" y="120"/>
                    <a:pt x="1688" y="120"/>
                  </a:cubicBezTo>
                  <a:cubicBezTo>
                    <a:pt x="1688" y="480"/>
                    <a:pt x="1688" y="480"/>
                    <a:pt x="1688" y="480"/>
                  </a:cubicBezTo>
                  <a:cubicBezTo>
                    <a:pt x="1590" y="480"/>
                    <a:pt x="409" y="480"/>
                    <a:pt x="360" y="480"/>
                  </a:cubicBezTo>
                  <a:close/>
                  <a:moveTo>
                    <a:pt x="960" y="840"/>
                  </a:moveTo>
                  <a:cubicBezTo>
                    <a:pt x="960" y="1148"/>
                    <a:pt x="960" y="1148"/>
                    <a:pt x="960" y="1148"/>
                  </a:cubicBezTo>
                  <a:cubicBezTo>
                    <a:pt x="840" y="1068"/>
                    <a:pt x="840" y="1068"/>
                    <a:pt x="840" y="1068"/>
                  </a:cubicBezTo>
                  <a:cubicBezTo>
                    <a:pt x="720" y="1148"/>
                    <a:pt x="720" y="1148"/>
                    <a:pt x="720" y="1148"/>
                  </a:cubicBezTo>
                  <a:cubicBezTo>
                    <a:pt x="720" y="840"/>
                    <a:pt x="720" y="840"/>
                    <a:pt x="720" y="840"/>
                  </a:cubicBezTo>
                  <a:lnTo>
                    <a:pt x="960" y="840"/>
                  </a:lnTo>
                  <a:close/>
                  <a:moveTo>
                    <a:pt x="840" y="1212"/>
                  </a:moveTo>
                  <a:cubicBezTo>
                    <a:pt x="1080" y="1372"/>
                    <a:pt x="1080" y="1372"/>
                    <a:pt x="1080" y="1372"/>
                  </a:cubicBezTo>
                  <a:cubicBezTo>
                    <a:pt x="1080" y="1080"/>
                    <a:pt x="1080" y="1080"/>
                    <a:pt x="1080" y="1080"/>
                  </a:cubicBezTo>
                  <a:cubicBezTo>
                    <a:pt x="1688" y="1080"/>
                    <a:pt x="1688" y="1080"/>
                    <a:pt x="1688" y="1080"/>
                  </a:cubicBezTo>
                  <a:cubicBezTo>
                    <a:pt x="1688" y="1440"/>
                    <a:pt x="1688" y="1440"/>
                    <a:pt x="1688" y="1440"/>
                  </a:cubicBezTo>
                  <a:cubicBezTo>
                    <a:pt x="360" y="1440"/>
                    <a:pt x="360" y="1440"/>
                    <a:pt x="360" y="1440"/>
                  </a:cubicBezTo>
                  <a:cubicBezTo>
                    <a:pt x="360" y="1080"/>
                    <a:pt x="360" y="1080"/>
                    <a:pt x="360" y="1080"/>
                  </a:cubicBezTo>
                  <a:cubicBezTo>
                    <a:pt x="600" y="1080"/>
                    <a:pt x="600" y="1080"/>
                    <a:pt x="600" y="1080"/>
                  </a:cubicBezTo>
                  <a:cubicBezTo>
                    <a:pt x="600" y="1372"/>
                    <a:pt x="600" y="1372"/>
                    <a:pt x="600" y="1372"/>
                  </a:cubicBezTo>
                  <a:lnTo>
                    <a:pt x="840" y="1212"/>
                  </a:lnTo>
                  <a:close/>
                  <a:moveTo>
                    <a:pt x="120" y="1080"/>
                  </a:moveTo>
                  <a:cubicBezTo>
                    <a:pt x="240" y="1080"/>
                    <a:pt x="240" y="1080"/>
                    <a:pt x="240" y="1080"/>
                  </a:cubicBezTo>
                  <a:cubicBezTo>
                    <a:pt x="240" y="1440"/>
                    <a:pt x="240" y="1440"/>
                    <a:pt x="240" y="1440"/>
                  </a:cubicBezTo>
                  <a:cubicBezTo>
                    <a:pt x="120" y="1440"/>
                    <a:pt x="120" y="1440"/>
                    <a:pt x="120" y="1440"/>
                  </a:cubicBezTo>
                  <a:lnTo>
                    <a:pt x="120" y="1080"/>
                  </a:lnTo>
                  <a:close/>
                  <a:moveTo>
                    <a:pt x="1928" y="1080"/>
                  </a:moveTo>
                  <a:cubicBezTo>
                    <a:pt x="1928" y="1440"/>
                    <a:pt x="1928" y="1440"/>
                    <a:pt x="1928" y="1440"/>
                  </a:cubicBezTo>
                  <a:cubicBezTo>
                    <a:pt x="1808" y="1440"/>
                    <a:pt x="1808" y="1440"/>
                    <a:pt x="1808" y="1440"/>
                  </a:cubicBezTo>
                  <a:cubicBezTo>
                    <a:pt x="1808" y="1080"/>
                    <a:pt x="1808" y="1080"/>
                    <a:pt x="1808" y="1080"/>
                  </a:cubicBezTo>
                  <a:lnTo>
                    <a:pt x="1928" y="1080"/>
                  </a:lnTo>
                  <a:close/>
                  <a:moveTo>
                    <a:pt x="1722" y="960"/>
                  </a:moveTo>
                  <a:cubicBezTo>
                    <a:pt x="1080" y="960"/>
                    <a:pt x="1080" y="960"/>
                    <a:pt x="1080" y="960"/>
                  </a:cubicBezTo>
                  <a:cubicBezTo>
                    <a:pt x="1080" y="840"/>
                    <a:pt x="1080" y="840"/>
                    <a:pt x="1080" y="840"/>
                  </a:cubicBezTo>
                  <a:cubicBezTo>
                    <a:pt x="1448" y="840"/>
                    <a:pt x="1448" y="840"/>
                    <a:pt x="1448" y="840"/>
                  </a:cubicBezTo>
                  <a:cubicBezTo>
                    <a:pt x="1448" y="720"/>
                    <a:pt x="1448" y="720"/>
                    <a:pt x="1448" y="720"/>
                  </a:cubicBezTo>
                  <a:cubicBezTo>
                    <a:pt x="600" y="720"/>
                    <a:pt x="600" y="720"/>
                    <a:pt x="600" y="720"/>
                  </a:cubicBezTo>
                  <a:cubicBezTo>
                    <a:pt x="600" y="960"/>
                    <a:pt x="600" y="960"/>
                    <a:pt x="600" y="960"/>
                  </a:cubicBezTo>
                  <a:cubicBezTo>
                    <a:pt x="540" y="960"/>
                    <a:pt x="540" y="960"/>
                    <a:pt x="540" y="960"/>
                  </a:cubicBezTo>
                  <a:cubicBezTo>
                    <a:pt x="441" y="960"/>
                    <a:pt x="360" y="879"/>
                    <a:pt x="360" y="780"/>
                  </a:cubicBezTo>
                  <a:cubicBezTo>
                    <a:pt x="360" y="681"/>
                    <a:pt x="441" y="600"/>
                    <a:pt x="540" y="600"/>
                  </a:cubicBezTo>
                  <a:cubicBezTo>
                    <a:pt x="1722" y="600"/>
                    <a:pt x="1722" y="600"/>
                    <a:pt x="1722" y="600"/>
                  </a:cubicBezTo>
                  <a:cubicBezTo>
                    <a:pt x="1700" y="651"/>
                    <a:pt x="1688" y="714"/>
                    <a:pt x="1688" y="780"/>
                  </a:cubicBezTo>
                  <a:cubicBezTo>
                    <a:pt x="1688" y="846"/>
                    <a:pt x="1700" y="909"/>
                    <a:pt x="1722" y="960"/>
                  </a:cubicBezTo>
                  <a:close/>
                  <a:moveTo>
                    <a:pt x="1928" y="480"/>
                  </a:moveTo>
                  <a:cubicBezTo>
                    <a:pt x="1808" y="480"/>
                    <a:pt x="1808" y="480"/>
                    <a:pt x="1808" y="480"/>
                  </a:cubicBezTo>
                  <a:cubicBezTo>
                    <a:pt x="1808" y="120"/>
                    <a:pt x="1808" y="120"/>
                    <a:pt x="1808" y="120"/>
                  </a:cubicBezTo>
                  <a:cubicBezTo>
                    <a:pt x="1928" y="120"/>
                    <a:pt x="1928" y="120"/>
                    <a:pt x="1928" y="120"/>
                  </a:cubicBezTo>
                  <a:lnTo>
                    <a:pt x="1928" y="480"/>
                  </a:lnTo>
                  <a:close/>
                  <a:moveTo>
                    <a:pt x="120" y="120"/>
                  </a:moveTo>
                  <a:cubicBezTo>
                    <a:pt x="240" y="120"/>
                    <a:pt x="240" y="120"/>
                    <a:pt x="240" y="120"/>
                  </a:cubicBezTo>
                  <a:cubicBezTo>
                    <a:pt x="240" y="480"/>
                    <a:pt x="240" y="480"/>
                    <a:pt x="240" y="480"/>
                  </a:cubicBezTo>
                  <a:cubicBezTo>
                    <a:pt x="120" y="480"/>
                    <a:pt x="120" y="480"/>
                    <a:pt x="120" y="480"/>
                  </a:cubicBezTo>
                  <a:lnTo>
                    <a:pt x="120" y="12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8BDCA05D-C00E-2B19-E5CD-6F5ABF53BE40}"/>
                </a:ext>
              </a:extLst>
            </p:cNvPr>
            <p:cNvGrpSpPr/>
            <p:nvPr/>
          </p:nvGrpSpPr>
          <p:grpSpPr>
            <a:xfrm>
              <a:off x="13923371" y="7778656"/>
              <a:ext cx="697177" cy="712345"/>
              <a:chOff x="6350" y="3175"/>
              <a:chExt cx="4305299" cy="4398963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9" name="Freeform 23">
                <a:extLst>
                  <a:ext uri="{FF2B5EF4-FFF2-40B4-BE49-F238E27FC236}">
                    <a16:creationId xmlns:a16="http://schemas.microsoft.com/office/drawing/2014/main" id="{A12CF622-C376-F252-E67E-00FBC9760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75" y="3549650"/>
                <a:ext cx="2406650" cy="257175"/>
              </a:xfrm>
              <a:custGeom>
                <a:avLst/>
                <a:gdLst>
                  <a:gd name="T0" fmla="*/ 1057 w 1117"/>
                  <a:gd name="T1" fmla="*/ 0 h 120"/>
                  <a:gd name="T2" fmla="*/ 60 w 1117"/>
                  <a:gd name="T3" fmla="*/ 0 h 120"/>
                  <a:gd name="T4" fmla="*/ 0 w 1117"/>
                  <a:gd name="T5" fmla="*/ 60 h 120"/>
                  <a:gd name="T6" fmla="*/ 60 w 1117"/>
                  <a:gd name="T7" fmla="*/ 120 h 120"/>
                  <a:gd name="T8" fmla="*/ 1057 w 1117"/>
                  <a:gd name="T9" fmla="*/ 120 h 120"/>
                  <a:gd name="T10" fmla="*/ 1117 w 1117"/>
                  <a:gd name="T11" fmla="*/ 60 h 120"/>
                  <a:gd name="T12" fmla="*/ 1057 w 1117"/>
                  <a:gd name="T1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17" h="120">
                    <a:moveTo>
                      <a:pt x="1057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27" y="0"/>
                      <a:pt x="0" y="26"/>
                      <a:pt x="0" y="60"/>
                    </a:cubicBezTo>
                    <a:cubicBezTo>
                      <a:pt x="0" y="93"/>
                      <a:pt x="27" y="120"/>
                      <a:pt x="60" y="120"/>
                    </a:cubicBezTo>
                    <a:cubicBezTo>
                      <a:pt x="1057" y="120"/>
                      <a:pt x="1057" y="120"/>
                      <a:pt x="1057" y="120"/>
                    </a:cubicBezTo>
                    <a:cubicBezTo>
                      <a:pt x="1090" y="120"/>
                      <a:pt x="1117" y="93"/>
                      <a:pt x="1117" y="60"/>
                    </a:cubicBezTo>
                    <a:cubicBezTo>
                      <a:pt x="1117" y="26"/>
                      <a:pt x="1090" y="0"/>
                      <a:pt x="1057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Freeform 24">
                <a:extLst>
                  <a:ext uri="{FF2B5EF4-FFF2-40B4-BE49-F238E27FC236}">
                    <a16:creationId xmlns:a16="http://schemas.microsoft.com/office/drawing/2014/main" id="{513CF4B8-8362-A385-7C6E-7F057E481E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50" y="3175"/>
                <a:ext cx="4305299" cy="4398963"/>
              </a:xfrm>
              <a:custGeom>
                <a:avLst/>
                <a:gdLst>
                  <a:gd name="T0" fmla="*/ 1527 w 1999"/>
                  <a:gd name="T1" fmla="*/ 1010 h 2048"/>
                  <a:gd name="T2" fmla="*/ 1467 w 1999"/>
                  <a:gd name="T3" fmla="*/ 0 h 2048"/>
                  <a:gd name="T4" fmla="*/ 0 w 1999"/>
                  <a:gd name="T5" fmla="*/ 60 h 2048"/>
                  <a:gd name="T6" fmla="*/ 60 w 1999"/>
                  <a:gd name="T7" fmla="*/ 2048 h 2048"/>
                  <a:gd name="T8" fmla="*/ 1527 w 1999"/>
                  <a:gd name="T9" fmla="*/ 1988 h 2048"/>
                  <a:gd name="T10" fmla="*/ 1559 w 1999"/>
                  <a:gd name="T11" fmla="*/ 1619 h 2048"/>
                  <a:gd name="T12" fmla="*/ 1856 w 1999"/>
                  <a:gd name="T13" fmla="*/ 1258 h 2048"/>
                  <a:gd name="T14" fmla="*/ 120 w 1999"/>
                  <a:gd name="T15" fmla="*/ 1928 h 2048"/>
                  <a:gd name="T16" fmla="*/ 1407 w 1999"/>
                  <a:gd name="T17" fmla="*/ 120 h 2048"/>
                  <a:gd name="T18" fmla="*/ 1318 w 1999"/>
                  <a:gd name="T19" fmla="*/ 853 h 2048"/>
                  <a:gd name="T20" fmla="*/ 1196 w 1999"/>
                  <a:gd name="T21" fmla="*/ 375 h 2048"/>
                  <a:gd name="T22" fmla="*/ 1322 w 1999"/>
                  <a:gd name="T23" fmla="*/ 315 h 2048"/>
                  <a:gd name="T24" fmla="*/ 1019 w 1999"/>
                  <a:gd name="T25" fmla="*/ 255 h 2048"/>
                  <a:gd name="T26" fmla="*/ 265 w 1999"/>
                  <a:gd name="T27" fmla="*/ 255 h 2048"/>
                  <a:gd name="T28" fmla="*/ 265 w 1999"/>
                  <a:gd name="T29" fmla="*/ 375 h 2048"/>
                  <a:gd name="T30" fmla="*/ 436 w 1999"/>
                  <a:gd name="T31" fmla="*/ 402 h 2048"/>
                  <a:gd name="T32" fmla="*/ 265 w 1999"/>
                  <a:gd name="T33" fmla="*/ 534 h 2048"/>
                  <a:gd name="T34" fmla="*/ 265 w 1999"/>
                  <a:gd name="T35" fmla="*/ 654 h 2048"/>
                  <a:gd name="T36" fmla="*/ 324 w 1999"/>
                  <a:gd name="T37" fmla="*/ 771 h 2048"/>
                  <a:gd name="T38" fmla="*/ 265 w 1999"/>
                  <a:gd name="T39" fmla="*/ 813 h 2048"/>
                  <a:gd name="T40" fmla="*/ 265 w 1999"/>
                  <a:gd name="T41" fmla="*/ 933 h 2048"/>
                  <a:gd name="T42" fmla="*/ 484 w 1999"/>
                  <a:gd name="T43" fmla="*/ 1092 h 2048"/>
                  <a:gd name="T44" fmla="*/ 205 w 1999"/>
                  <a:gd name="T45" fmla="*/ 1152 h 2048"/>
                  <a:gd name="T46" fmla="*/ 703 w 1999"/>
                  <a:gd name="T47" fmla="*/ 1210 h 2048"/>
                  <a:gd name="T48" fmla="*/ 1054 w 1999"/>
                  <a:gd name="T49" fmla="*/ 1174 h 2048"/>
                  <a:gd name="T50" fmla="*/ 1262 w 1999"/>
                  <a:gd name="T51" fmla="*/ 1371 h 2048"/>
                  <a:gd name="T52" fmla="*/ 205 w 1999"/>
                  <a:gd name="T53" fmla="*/ 1431 h 2048"/>
                  <a:gd name="T54" fmla="*/ 1262 w 1999"/>
                  <a:gd name="T55" fmla="*/ 1491 h 2048"/>
                  <a:gd name="T56" fmla="*/ 1316 w 1999"/>
                  <a:gd name="T57" fmla="*/ 1404 h 2048"/>
                  <a:gd name="T58" fmla="*/ 1407 w 1999"/>
                  <a:gd name="T59" fmla="*/ 1928 h 2048"/>
                  <a:gd name="T60" fmla="*/ 1271 w 1999"/>
                  <a:gd name="T61" fmla="*/ 968 h 2048"/>
                  <a:gd name="T62" fmla="*/ 1260 w 1999"/>
                  <a:gd name="T63" fmla="*/ 1195 h 2048"/>
                  <a:gd name="T64" fmla="*/ 1220 w 1999"/>
                  <a:gd name="T65" fmla="*/ 1042 h 2048"/>
                  <a:gd name="T66" fmla="*/ 583 w 1999"/>
                  <a:gd name="T67" fmla="*/ 1019 h 2048"/>
                  <a:gd name="T68" fmla="*/ 529 w 1999"/>
                  <a:gd name="T69" fmla="*/ 479 h 2048"/>
                  <a:gd name="T70" fmla="*/ 1074 w 1999"/>
                  <a:gd name="T71" fmla="*/ 425 h 2048"/>
                  <a:gd name="T72" fmla="*/ 1128 w 1999"/>
                  <a:gd name="T73" fmla="*/ 965 h 2048"/>
                  <a:gd name="T74" fmla="*/ 1639 w 1999"/>
                  <a:gd name="T75" fmla="*/ 1529 h 2048"/>
                  <a:gd name="T76" fmla="*/ 1476 w 1999"/>
                  <a:gd name="T77" fmla="*/ 1122 h 2048"/>
                  <a:gd name="T78" fmla="*/ 1803 w 1999"/>
                  <a:gd name="T79" fmla="*/ 1516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99" h="2048">
                    <a:moveTo>
                      <a:pt x="1856" y="1258"/>
                    </a:moveTo>
                    <a:cubicBezTo>
                      <a:pt x="1527" y="1010"/>
                      <a:pt x="1527" y="1010"/>
                      <a:pt x="1527" y="1010"/>
                    </a:cubicBezTo>
                    <a:cubicBezTo>
                      <a:pt x="1527" y="60"/>
                      <a:pt x="1527" y="60"/>
                      <a:pt x="1527" y="60"/>
                    </a:cubicBezTo>
                    <a:cubicBezTo>
                      <a:pt x="1527" y="27"/>
                      <a:pt x="1500" y="0"/>
                      <a:pt x="1467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27" y="0"/>
                      <a:pt x="0" y="27"/>
                      <a:pt x="0" y="60"/>
                    </a:cubicBezTo>
                    <a:cubicBezTo>
                      <a:pt x="0" y="1988"/>
                      <a:pt x="0" y="1988"/>
                      <a:pt x="0" y="1988"/>
                    </a:cubicBezTo>
                    <a:cubicBezTo>
                      <a:pt x="0" y="2021"/>
                      <a:pt x="27" y="2048"/>
                      <a:pt x="60" y="2048"/>
                    </a:cubicBezTo>
                    <a:cubicBezTo>
                      <a:pt x="1467" y="2048"/>
                      <a:pt x="1467" y="2048"/>
                      <a:pt x="1467" y="2048"/>
                    </a:cubicBezTo>
                    <a:cubicBezTo>
                      <a:pt x="1500" y="2048"/>
                      <a:pt x="1527" y="2021"/>
                      <a:pt x="1527" y="1988"/>
                    </a:cubicBezTo>
                    <a:cubicBezTo>
                      <a:pt x="1527" y="1591"/>
                      <a:pt x="1527" y="1591"/>
                      <a:pt x="1527" y="1591"/>
                    </a:cubicBezTo>
                    <a:cubicBezTo>
                      <a:pt x="1559" y="1619"/>
                      <a:pt x="1559" y="1619"/>
                      <a:pt x="1559" y="1619"/>
                    </a:cubicBezTo>
                    <a:cubicBezTo>
                      <a:pt x="1617" y="1670"/>
                      <a:pt x="1787" y="1732"/>
                      <a:pt x="1896" y="1592"/>
                    </a:cubicBezTo>
                    <a:cubicBezTo>
                      <a:pt x="1999" y="1447"/>
                      <a:pt x="1925" y="1305"/>
                      <a:pt x="1856" y="1258"/>
                    </a:cubicBezTo>
                    <a:close/>
                    <a:moveTo>
                      <a:pt x="1407" y="1928"/>
                    </a:moveTo>
                    <a:cubicBezTo>
                      <a:pt x="120" y="1928"/>
                      <a:pt x="120" y="1928"/>
                      <a:pt x="120" y="1928"/>
                    </a:cubicBezTo>
                    <a:cubicBezTo>
                      <a:pt x="120" y="120"/>
                      <a:pt x="120" y="120"/>
                      <a:pt x="120" y="120"/>
                    </a:cubicBezTo>
                    <a:cubicBezTo>
                      <a:pt x="1407" y="120"/>
                      <a:pt x="1407" y="120"/>
                      <a:pt x="1407" y="120"/>
                    </a:cubicBezTo>
                    <a:cubicBezTo>
                      <a:pt x="1407" y="920"/>
                      <a:pt x="1407" y="920"/>
                      <a:pt x="1407" y="920"/>
                    </a:cubicBezTo>
                    <a:cubicBezTo>
                      <a:pt x="1318" y="853"/>
                      <a:pt x="1318" y="853"/>
                      <a:pt x="1318" y="853"/>
                    </a:cubicBezTo>
                    <a:cubicBezTo>
                      <a:pt x="1334" y="795"/>
                      <a:pt x="1339" y="734"/>
                      <a:pt x="1333" y="673"/>
                    </a:cubicBezTo>
                    <a:cubicBezTo>
                      <a:pt x="1322" y="560"/>
                      <a:pt x="1274" y="456"/>
                      <a:pt x="1196" y="375"/>
                    </a:cubicBezTo>
                    <a:cubicBezTo>
                      <a:pt x="1262" y="375"/>
                      <a:pt x="1262" y="375"/>
                      <a:pt x="1262" y="375"/>
                    </a:cubicBezTo>
                    <a:cubicBezTo>
                      <a:pt x="1295" y="375"/>
                      <a:pt x="1322" y="348"/>
                      <a:pt x="1322" y="315"/>
                    </a:cubicBezTo>
                    <a:cubicBezTo>
                      <a:pt x="1322" y="282"/>
                      <a:pt x="1295" y="255"/>
                      <a:pt x="1262" y="255"/>
                    </a:cubicBezTo>
                    <a:cubicBezTo>
                      <a:pt x="1019" y="255"/>
                      <a:pt x="1019" y="255"/>
                      <a:pt x="1019" y="255"/>
                    </a:cubicBezTo>
                    <a:cubicBezTo>
                      <a:pt x="896" y="205"/>
                      <a:pt x="759" y="206"/>
                      <a:pt x="638" y="255"/>
                    </a:cubicBezTo>
                    <a:cubicBezTo>
                      <a:pt x="265" y="255"/>
                      <a:pt x="265" y="255"/>
                      <a:pt x="265" y="255"/>
                    </a:cubicBezTo>
                    <a:cubicBezTo>
                      <a:pt x="232" y="255"/>
                      <a:pt x="205" y="282"/>
                      <a:pt x="205" y="315"/>
                    </a:cubicBezTo>
                    <a:cubicBezTo>
                      <a:pt x="205" y="348"/>
                      <a:pt x="232" y="375"/>
                      <a:pt x="265" y="375"/>
                    </a:cubicBezTo>
                    <a:cubicBezTo>
                      <a:pt x="461" y="375"/>
                      <a:pt x="461" y="375"/>
                      <a:pt x="461" y="375"/>
                    </a:cubicBezTo>
                    <a:cubicBezTo>
                      <a:pt x="452" y="384"/>
                      <a:pt x="444" y="393"/>
                      <a:pt x="436" y="402"/>
                    </a:cubicBezTo>
                    <a:cubicBezTo>
                      <a:pt x="403" y="443"/>
                      <a:pt x="377" y="487"/>
                      <a:pt x="358" y="534"/>
                    </a:cubicBezTo>
                    <a:cubicBezTo>
                      <a:pt x="265" y="534"/>
                      <a:pt x="265" y="534"/>
                      <a:pt x="265" y="534"/>
                    </a:cubicBezTo>
                    <a:cubicBezTo>
                      <a:pt x="232" y="534"/>
                      <a:pt x="205" y="561"/>
                      <a:pt x="205" y="594"/>
                    </a:cubicBezTo>
                    <a:cubicBezTo>
                      <a:pt x="205" y="627"/>
                      <a:pt x="232" y="654"/>
                      <a:pt x="265" y="654"/>
                    </a:cubicBezTo>
                    <a:cubicBezTo>
                      <a:pt x="326" y="654"/>
                      <a:pt x="326" y="654"/>
                      <a:pt x="326" y="654"/>
                    </a:cubicBezTo>
                    <a:cubicBezTo>
                      <a:pt x="321" y="693"/>
                      <a:pt x="320" y="732"/>
                      <a:pt x="324" y="771"/>
                    </a:cubicBezTo>
                    <a:cubicBezTo>
                      <a:pt x="325" y="786"/>
                      <a:pt x="327" y="799"/>
                      <a:pt x="330" y="813"/>
                    </a:cubicBezTo>
                    <a:cubicBezTo>
                      <a:pt x="265" y="813"/>
                      <a:pt x="265" y="813"/>
                      <a:pt x="265" y="813"/>
                    </a:cubicBezTo>
                    <a:cubicBezTo>
                      <a:pt x="232" y="813"/>
                      <a:pt x="205" y="840"/>
                      <a:pt x="205" y="873"/>
                    </a:cubicBezTo>
                    <a:cubicBezTo>
                      <a:pt x="205" y="906"/>
                      <a:pt x="232" y="933"/>
                      <a:pt x="265" y="933"/>
                    </a:cubicBezTo>
                    <a:cubicBezTo>
                      <a:pt x="368" y="933"/>
                      <a:pt x="368" y="933"/>
                      <a:pt x="368" y="933"/>
                    </a:cubicBezTo>
                    <a:cubicBezTo>
                      <a:pt x="395" y="993"/>
                      <a:pt x="435" y="1047"/>
                      <a:pt x="484" y="1092"/>
                    </a:cubicBezTo>
                    <a:cubicBezTo>
                      <a:pt x="265" y="1092"/>
                      <a:pt x="265" y="1092"/>
                      <a:pt x="265" y="1092"/>
                    </a:cubicBezTo>
                    <a:cubicBezTo>
                      <a:pt x="232" y="1092"/>
                      <a:pt x="205" y="1119"/>
                      <a:pt x="205" y="1152"/>
                    </a:cubicBezTo>
                    <a:cubicBezTo>
                      <a:pt x="205" y="1185"/>
                      <a:pt x="232" y="1212"/>
                      <a:pt x="265" y="1212"/>
                    </a:cubicBezTo>
                    <a:cubicBezTo>
                      <a:pt x="265" y="1212"/>
                      <a:pt x="698" y="1212"/>
                      <a:pt x="703" y="1210"/>
                    </a:cubicBezTo>
                    <a:cubicBezTo>
                      <a:pt x="744" y="1221"/>
                      <a:pt x="786" y="1226"/>
                      <a:pt x="828" y="1226"/>
                    </a:cubicBezTo>
                    <a:cubicBezTo>
                      <a:pt x="906" y="1226"/>
                      <a:pt x="983" y="1208"/>
                      <a:pt x="1054" y="1174"/>
                    </a:cubicBezTo>
                    <a:cubicBezTo>
                      <a:pt x="1282" y="1375"/>
                      <a:pt x="1282" y="1375"/>
                      <a:pt x="1282" y="1375"/>
                    </a:cubicBezTo>
                    <a:cubicBezTo>
                      <a:pt x="1276" y="1373"/>
                      <a:pt x="1269" y="1371"/>
                      <a:pt x="1262" y="1371"/>
                    </a:cubicBezTo>
                    <a:cubicBezTo>
                      <a:pt x="265" y="1371"/>
                      <a:pt x="265" y="1371"/>
                      <a:pt x="265" y="1371"/>
                    </a:cubicBezTo>
                    <a:cubicBezTo>
                      <a:pt x="232" y="1371"/>
                      <a:pt x="205" y="1398"/>
                      <a:pt x="205" y="1431"/>
                    </a:cubicBezTo>
                    <a:cubicBezTo>
                      <a:pt x="205" y="1465"/>
                      <a:pt x="232" y="1491"/>
                      <a:pt x="265" y="1491"/>
                    </a:cubicBezTo>
                    <a:cubicBezTo>
                      <a:pt x="1262" y="1491"/>
                      <a:pt x="1262" y="1491"/>
                      <a:pt x="1262" y="1491"/>
                    </a:cubicBezTo>
                    <a:cubicBezTo>
                      <a:pt x="1295" y="1491"/>
                      <a:pt x="1322" y="1465"/>
                      <a:pt x="1322" y="1431"/>
                    </a:cubicBezTo>
                    <a:cubicBezTo>
                      <a:pt x="1322" y="1422"/>
                      <a:pt x="1320" y="1413"/>
                      <a:pt x="1316" y="1404"/>
                    </a:cubicBezTo>
                    <a:cubicBezTo>
                      <a:pt x="1407" y="1485"/>
                      <a:pt x="1407" y="1485"/>
                      <a:pt x="1407" y="1485"/>
                    </a:cubicBezTo>
                    <a:lnTo>
                      <a:pt x="1407" y="1928"/>
                    </a:lnTo>
                    <a:close/>
                    <a:moveTo>
                      <a:pt x="1220" y="1042"/>
                    </a:moveTo>
                    <a:cubicBezTo>
                      <a:pt x="1240" y="1018"/>
                      <a:pt x="1257" y="994"/>
                      <a:pt x="1271" y="968"/>
                    </a:cubicBezTo>
                    <a:cubicBezTo>
                      <a:pt x="1380" y="1050"/>
                      <a:pt x="1380" y="1050"/>
                      <a:pt x="1380" y="1050"/>
                    </a:cubicBezTo>
                    <a:cubicBezTo>
                      <a:pt x="1260" y="1195"/>
                      <a:pt x="1260" y="1195"/>
                      <a:pt x="1260" y="1195"/>
                    </a:cubicBezTo>
                    <a:cubicBezTo>
                      <a:pt x="1158" y="1105"/>
                      <a:pt x="1158" y="1105"/>
                      <a:pt x="1158" y="1105"/>
                    </a:cubicBezTo>
                    <a:cubicBezTo>
                      <a:pt x="1180" y="1086"/>
                      <a:pt x="1201" y="1065"/>
                      <a:pt x="1220" y="1042"/>
                    </a:cubicBezTo>
                    <a:close/>
                    <a:moveTo>
                      <a:pt x="1128" y="965"/>
                    </a:moveTo>
                    <a:cubicBezTo>
                      <a:pt x="992" y="1129"/>
                      <a:pt x="748" y="1153"/>
                      <a:pt x="583" y="1019"/>
                    </a:cubicBezTo>
                    <a:cubicBezTo>
                      <a:pt x="503" y="954"/>
                      <a:pt x="453" y="862"/>
                      <a:pt x="443" y="760"/>
                    </a:cubicBezTo>
                    <a:cubicBezTo>
                      <a:pt x="433" y="658"/>
                      <a:pt x="463" y="558"/>
                      <a:pt x="529" y="479"/>
                    </a:cubicBezTo>
                    <a:cubicBezTo>
                      <a:pt x="605" y="386"/>
                      <a:pt x="717" y="338"/>
                      <a:pt x="829" y="338"/>
                    </a:cubicBezTo>
                    <a:cubicBezTo>
                      <a:pt x="915" y="338"/>
                      <a:pt x="1002" y="367"/>
                      <a:pt x="1074" y="425"/>
                    </a:cubicBezTo>
                    <a:cubicBezTo>
                      <a:pt x="1154" y="490"/>
                      <a:pt x="1203" y="582"/>
                      <a:pt x="1214" y="685"/>
                    </a:cubicBezTo>
                    <a:cubicBezTo>
                      <a:pt x="1224" y="786"/>
                      <a:pt x="1193" y="886"/>
                      <a:pt x="1128" y="965"/>
                    </a:cubicBezTo>
                    <a:close/>
                    <a:moveTo>
                      <a:pt x="1803" y="1516"/>
                    </a:moveTo>
                    <a:cubicBezTo>
                      <a:pt x="1776" y="1552"/>
                      <a:pt x="1711" y="1576"/>
                      <a:pt x="1639" y="1529"/>
                    </a:cubicBezTo>
                    <a:cubicBezTo>
                      <a:pt x="1350" y="1275"/>
                      <a:pt x="1350" y="1275"/>
                      <a:pt x="1350" y="1275"/>
                    </a:cubicBezTo>
                    <a:cubicBezTo>
                      <a:pt x="1476" y="1122"/>
                      <a:pt x="1476" y="1122"/>
                      <a:pt x="1476" y="1122"/>
                    </a:cubicBezTo>
                    <a:cubicBezTo>
                      <a:pt x="1784" y="1354"/>
                      <a:pt x="1784" y="1354"/>
                      <a:pt x="1784" y="1354"/>
                    </a:cubicBezTo>
                    <a:cubicBezTo>
                      <a:pt x="1845" y="1399"/>
                      <a:pt x="1828" y="1484"/>
                      <a:pt x="1803" y="15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DA0C4E8-CC04-6F27-A378-7FFC12DAC8DD}"/>
                </a:ext>
              </a:extLst>
            </p:cNvPr>
            <p:cNvGrpSpPr/>
            <p:nvPr/>
          </p:nvGrpSpPr>
          <p:grpSpPr>
            <a:xfrm>
              <a:off x="16362688" y="7754692"/>
              <a:ext cx="823426" cy="828347"/>
              <a:chOff x="-4763" y="-90488"/>
              <a:chExt cx="4514851" cy="4541838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7" name="Freeform 28">
                <a:extLst>
                  <a:ext uri="{FF2B5EF4-FFF2-40B4-BE49-F238E27FC236}">
                    <a16:creationId xmlns:a16="http://schemas.microsoft.com/office/drawing/2014/main" id="{4D5BE6F9-0E51-CEEB-C8EE-E0AA8278B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763" y="-90488"/>
                <a:ext cx="4514851" cy="4541838"/>
              </a:xfrm>
              <a:custGeom>
                <a:avLst/>
                <a:gdLst>
                  <a:gd name="T0" fmla="*/ 1992 w 2097"/>
                  <a:gd name="T1" fmla="*/ 53 h 2115"/>
                  <a:gd name="T2" fmla="*/ 536 w 2097"/>
                  <a:gd name="T3" fmla="*/ 829 h 2115"/>
                  <a:gd name="T4" fmla="*/ 24 w 2097"/>
                  <a:gd name="T5" fmla="*/ 1141 h 2115"/>
                  <a:gd name="T6" fmla="*/ 82 w 2097"/>
                  <a:gd name="T7" fmla="*/ 1241 h 2115"/>
                  <a:gd name="T8" fmla="*/ 303 w 2097"/>
                  <a:gd name="T9" fmla="*/ 1216 h 2115"/>
                  <a:gd name="T10" fmla="*/ 236 w 2097"/>
                  <a:gd name="T11" fmla="*/ 1438 h 2115"/>
                  <a:gd name="T12" fmla="*/ 189 w 2097"/>
                  <a:gd name="T13" fmla="*/ 1845 h 2115"/>
                  <a:gd name="T14" fmla="*/ 557 w 2097"/>
                  <a:gd name="T15" fmla="*/ 1759 h 2115"/>
                  <a:gd name="T16" fmla="*/ 735 w 2097"/>
                  <a:gd name="T17" fmla="*/ 1870 h 2115"/>
                  <a:gd name="T18" fmla="*/ 855 w 2097"/>
                  <a:gd name="T19" fmla="*/ 2023 h 2115"/>
                  <a:gd name="T20" fmla="*/ 1127 w 2097"/>
                  <a:gd name="T21" fmla="*/ 1905 h 2115"/>
                  <a:gd name="T22" fmla="*/ 1576 w 2097"/>
                  <a:gd name="T23" fmla="*/ 1306 h 2115"/>
                  <a:gd name="T24" fmla="*/ 1930 w 2097"/>
                  <a:gd name="T25" fmla="*/ 167 h 2115"/>
                  <a:gd name="T26" fmla="*/ 1689 w 2097"/>
                  <a:gd name="T27" fmla="*/ 409 h 2115"/>
                  <a:gd name="T28" fmla="*/ 1930 w 2097"/>
                  <a:gd name="T29" fmla="*/ 167 h 2115"/>
                  <a:gd name="T30" fmla="*/ 278 w 2097"/>
                  <a:gd name="T31" fmla="*/ 1056 h 2115"/>
                  <a:gd name="T32" fmla="*/ 364 w 2097"/>
                  <a:gd name="T33" fmla="*/ 1104 h 2115"/>
                  <a:gd name="T34" fmla="*/ 352 w 2097"/>
                  <a:gd name="T35" fmla="*/ 1385 h 2115"/>
                  <a:gd name="T36" fmla="*/ 489 w 2097"/>
                  <a:gd name="T37" fmla="*/ 1351 h 2115"/>
                  <a:gd name="T38" fmla="*/ 352 w 2097"/>
                  <a:gd name="T39" fmla="*/ 1385 h 2115"/>
                  <a:gd name="T40" fmla="*/ 783 w 2097"/>
                  <a:gd name="T41" fmla="*/ 1309 h 2115"/>
                  <a:gd name="T42" fmla="*/ 340 w 2097"/>
                  <a:gd name="T43" fmla="*/ 1753 h 2115"/>
                  <a:gd name="T44" fmla="*/ 713 w 2097"/>
                  <a:gd name="T45" fmla="*/ 1745 h 2115"/>
                  <a:gd name="T46" fmla="*/ 741 w 2097"/>
                  <a:gd name="T47" fmla="*/ 1603 h 2115"/>
                  <a:gd name="T48" fmla="*/ 713 w 2097"/>
                  <a:gd name="T49" fmla="*/ 1745 h 2115"/>
                  <a:gd name="T50" fmla="*/ 994 w 2097"/>
                  <a:gd name="T51" fmla="*/ 1868 h 2115"/>
                  <a:gd name="T52" fmla="*/ 1133 w 2097"/>
                  <a:gd name="T53" fmla="*/ 1650 h 2115"/>
                  <a:gd name="T54" fmla="*/ 934 w 2097"/>
                  <a:gd name="T55" fmla="*/ 1627 h 2115"/>
                  <a:gd name="T56" fmla="*/ 903 w 2097"/>
                  <a:gd name="T57" fmla="*/ 1249 h 2115"/>
                  <a:gd name="T58" fmla="*/ 573 w 2097"/>
                  <a:gd name="T59" fmla="*/ 1266 h 2115"/>
                  <a:gd name="T60" fmla="*/ 1439 w 2097"/>
                  <a:gd name="T61" fmla="*/ 231 h 2115"/>
                  <a:gd name="T62" fmla="*/ 1865 w 2097"/>
                  <a:gd name="T63" fmla="*/ 659 h 2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97" h="2115">
                    <a:moveTo>
                      <a:pt x="2045" y="106"/>
                    </a:moveTo>
                    <a:cubicBezTo>
                      <a:pt x="2042" y="78"/>
                      <a:pt x="2020" y="56"/>
                      <a:pt x="1992" y="53"/>
                    </a:cubicBezTo>
                    <a:cubicBezTo>
                      <a:pt x="1517" y="0"/>
                      <a:pt x="1113" y="190"/>
                      <a:pt x="782" y="530"/>
                    </a:cubicBezTo>
                    <a:cubicBezTo>
                      <a:pt x="688" y="627"/>
                      <a:pt x="606" y="730"/>
                      <a:pt x="536" y="829"/>
                    </a:cubicBezTo>
                    <a:cubicBezTo>
                      <a:pt x="418" y="825"/>
                      <a:pt x="286" y="878"/>
                      <a:pt x="193" y="971"/>
                    </a:cubicBezTo>
                    <a:cubicBezTo>
                      <a:pt x="24" y="1141"/>
                      <a:pt x="24" y="1141"/>
                      <a:pt x="24" y="1141"/>
                    </a:cubicBezTo>
                    <a:cubicBezTo>
                      <a:pt x="4" y="1160"/>
                      <a:pt x="0" y="1190"/>
                      <a:pt x="14" y="1213"/>
                    </a:cubicBezTo>
                    <a:cubicBezTo>
                      <a:pt x="28" y="1237"/>
                      <a:pt x="55" y="1248"/>
                      <a:pt x="82" y="1241"/>
                    </a:cubicBezTo>
                    <a:cubicBezTo>
                      <a:pt x="121" y="1231"/>
                      <a:pt x="185" y="1218"/>
                      <a:pt x="246" y="1216"/>
                    </a:cubicBezTo>
                    <a:cubicBezTo>
                      <a:pt x="269" y="1214"/>
                      <a:pt x="288" y="1215"/>
                      <a:pt x="303" y="1216"/>
                    </a:cubicBezTo>
                    <a:cubicBezTo>
                      <a:pt x="266" y="1288"/>
                      <a:pt x="237" y="1348"/>
                      <a:pt x="227" y="1363"/>
                    </a:cubicBezTo>
                    <a:cubicBezTo>
                      <a:pt x="212" y="1387"/>
                      <a:pt x="216" y="1418"/>
                      <a:pt x="236" y="1438"/>
                    </a:cubicBezTo>
                    <a:cubicBezTo>
                      <a:pt x="334" y="1536"/>
                      <a:pt x="334" y="1536"/>
                      <a:pt x="334" y="1536"/>
                    </a:cubicBezTo>
                    <a:cubicBezTo>
                      <a:pt x="191" y="1731"/>
                      <a:pt x="189" y="1831"/>
                      <a:pt x="189" y="1845"/>
                    </a:cubicBezTo>
                    <a:cubicBezTo>
                      <a:pt x="190" y="1875"/>
                      <a:pt x="214" y="1903"/>
                      <a:pt x="252" y="1903"/>
                    </a:cubicBezTo>
                    <a:cubicBezTo>
                      <a:pt x="286" y="1903"/>
                      <a:pt x="382" y="1889"/>
                      <a:pt x="557" y="1759"/>
                    </a:cubicBezTo>
                    <a:cubicBezTo>
                      <a:pt x="660" y="1862"/>
                      <a:pt x="660" y="1862"/>
                      <a:pt x="660" y="1862"/>
                    </a:cubicBezTo>
                    <a:cubicBezTo>
                      <a:pt x="680" y="1882"/>
                      <a:pt x="711" y="1885"/>
                      <a:pt x="735" y="1870"/>
                    </a:cubicBezTo>
                    <a:cubicBezTo>
                      <a:pt x="751" y="1860"/>
                      <a:pt x="808" y="1832"/>
                      <a:pt x="876" y="1797"/>
                    </a:cubicBezTo>
                    <a:cubicBezTo>
                      <a:pt x="877" y="1848"/>
                      <a:pt x="870" y="1922"/>
                      <a:pt x="855" y="2023"/>
                    </a:cubicBezTo>
                    <a:cubicBezTo>
                      <a:pt x="847" y="2080"/>
                      <a:pt x="916" y="2115"/>
                      <a:pt x="957" y="2074"/>
                    </a:cubicBezTo>
                    <a:cubicBezTo>
                      <a:pt x="1127" y="1905"/>
                      <a:pt x="1127" y="1905"/>
                      <a:pt x="1127" y="1905"/>
                    </a:cubicBezTo>
                    <a:cubicBezTo>
                      <a:pt x="1214" y="1817"/>
                      <a:pt x="1265" y="1687"/>
                      <a:pt x="1261" y="1565"/>
                    </a:cubicBezTo>
                    <a:cubicBezTo>
                      <a:pt x="1366" y="1492"/>
                      <a:pt x="1475" y="1406"/>
                      <a:pt x="1576" y="1306"/>
                    </a:cubicBezTo>
                    <a:cubicBezTo>
                      <a:pt x="1913" y="976"/>
                      <a:pt x="2097" y="574"/>
                      <a:pt x="2045" y="106"/>
                    </a:cubicBezTo>
                    <a:close/>
                    <a:moveTo>
                      <a:pt x="1930" y="167"/>
                    </a:moveTo>
                    <a:cubicBezTo>
                      <a:pt x="1940" y="297"/>
                      <a:pt x="1930" y="422"/>
                      <a:pt x="1900" y="544"/>
                    </a:cubicBezTo>
                    <a:cubicBezTo>
                      <a:pt x="1826" y="520"/>
                      <a:pt x="1754" y="475"/>
                      <a:pt x="1689" y="409"/>
                    </a:cubicBezTo>
                    <a:cubicBezTo>
                      <a:pt x="1623" y="344"/>
                      <a:pt x="1577" y="271"/>
                      <a:pt x="1554" y="197"/>
                    </a:cubicBezTo>
                    <a:cubicBezTo>
                      <a:pt x="1675" y="168"/>
                      <a:pt x="1801" y="158"/>
                      <a:pt x="1930" y="167"/>
                    </a:cubicBezTo>
                    <a:close/>
                    <a:moveTo>
                      <a:pt x="239" y="1096"/>
                    </a:moveTo>
                    <a:cubicBezTo>
                      <a:pt x="278" y="1056"/>
                      <a:pt x="278" y="1056"/>
                      <a:pt x="278" y="1056"/>
                    </a:cubicBezTo>
                    <a:cubicBezTo>
                      <a:pt x="326" y="1008"/>
                      <a:pt x="388" y="974"/>
                      <a:pt x="450" y="958"/>
                    </a:cubicBezTo>
                    <a:cubicBezTo>
                      <a:pt x="418" y="1010"/>
                      <a:pt x="389" y="1059"/>
                      <a:pt x="364" y="1104"/>
                    </a:cubicBezTo>
                    <a:cubicBezTo>
                      <a:pt x="324" y="1095"/>
                      <a:pt x="281" y="1094"/>
                      <a:pt x="239" y="1096"/>
                    </a:cubicBezTo>
                    <a:close/>
                    <a:moveTo>
                      <a:pt x="352" y="1385"/>
                    </a:moveTo>
                    <a:cubicBezTo>
                      <a:pt x="365" y="1359"/>
                      <a:pt x="381" y="1327"/>
                      <a:pt x="410" y="1272"/>
                    </a:cubicBezTo>
                    <a:cubicBezTo>
                      <a:pt x="489" y="1351"/>
                      <a:pt x="489" y="1351"/>
                      <a:pt x="489" y="1351"/>
                    </a:cubicBezTo>
                    <a:cubicBezTo>
                      <a:pt x="459" y="1383"/>
                      <a:pt x="433" y="1413"/>
                      <a:pt x="409" y="1441"/>
                    </a:cubicBezTo>
                    <a:lnTo>
                      <a:pt x="352" y="1385"/>
                    </a:lnTo>
                    <a:close/>
                    <a:moveTo>
                      <a:pt x="646" y="1362"/>
                    </a:moveTo>
                    <a:cubicBezTo>
                      <a:pt x="689" y="1318"/>
                      <a:pt x="731" y="1310"/>
                      <a:pt x="783" y="1309"/>
                    </a:cubicBezTo>
                    <a:cubicBezTo>
                      <a:pt x="782" y="1360"/>
                      <a:pt x="774" y="1403"/>
                      <a:pt x="730" y="1446"/>
                    </a:cubicBezTo>
                    <a:cubicBezTo>
                      <a:pt x="544" y="1633"/>
                      <a:pt x="416" y="1716"/>
                      <a:pt x="340" y="1753"/>
                    </a:cubicBezTo>
                    <a:cubicBezTo>
                      <a:pt x="378" y="1675"/>
                      <a:pt x="461" y="1546"/>
                      <a:pt x="646" y="1362"/>
                    </a:cubicBezTo>
                    <a:close/>
                    <a:moveTo>
                      <a:pt x="713" y="1745"/>
                    </a:moveTo>
                    <a:cubicBezTo>
                      <a:pt x="651" y="1684"/>
                      <a:pt x="651" y="1684"/>
                      <a:pt x="651" y="1684"/>
                    </a:cubicBezTo>
                    <a:cubicBezTo>
                      <a:pt x="679" y="1660"/>
                      <a:pt x="709" y="1633"/>
                      <a:pt x="741" y="1603"/>
                    </a:cubicBezTo>
                    <a:cubicBezTo>
                      <a:pt x="825" y="1688"/>
                      <a:pt x="825" y="1688"/>
                      <a:pt x="825" y="1688"/>
                    </a:cubicBezTo>
                    <a:cubicBezTo>
                      <a:pt x="770" y="1717"/>
                      <a:pt x="746" y="1728"/>
                      <a:pt x="713" y="1745"/>
                    </a:cubicBezTo>
                    <a:close/>
                    <a:moveTo>
                      <a:pt x="1042" y="1820"/>
                    </a:moveTo>
                    <a:cubicBezTo>
                      <a:pt x="994" y="1868"/>
                      <a:pt x="994" y="1868"/>
                      <a:pt x="994" y="1868"/>
                    </a:cubicBezTo>
                    <a:cubicBezTo>
                      <a:pt x="998" y="1810"/>
                      <a:pt x="996" y="1767"/>
                      <a:pt x="991" y="1734"/>
                    </a:cubicBezTo>
                    <a:cubicBezTo>
                      <a:pt x="1035" y="1710"/>
                      <a:pt x="1083" y="1681"/>
                      <a:pt x="1133" y="1650"/>
                    </a:cubicBezTo>
                    <a:cubicBezTo>
                      <a:pt x="1119" y="1713"/>
                      <a:pt x="1087" y="1775"/>
                      <a:pt x="1042" y="1820"/>
                    </a:cubicBezTo>
                    <a:close/>
                    <a:moveTo>
                      <a:pt x="934" y="1627"/>
                    </a:moveTo>
                    <a:cubicBezTo>
                      <a:pt x="826" y="1519"/>
                      <a:pt x="826" y="1519"/>
                      <a:pt x="826" y="1519"/>
                    </a:cubicBezTo>
                    <a:cubicBezTo>
                      <a:pt x="906" y="1432"/>
                      <a:pt x="903" y="1347"/>
                      <a:pt x="903" y="1249"/>
                    </a:cubicBezTo>
                    <a:cubicBezTo>
                      <a:pt x="903" y="1216"/>
                      <a:pt x="876" y="1189"/>
                      <a:pt x="843" y="1189"/>
                    </a:cubicBezTo>
                    <a:cubicBezTo>
                      <a:pt x="751" y="1189"/>
                      <a:pt x="662" y="1184"/>
                      <a:pt x="573" y="1266"/>
                    </a:cubicBezTo>
                    <a:cubicBezTo>
                      <a:pt x="470" y="1163"/>
                      <a:pt x="470" y="1163"/>
                      <a:pt x="470" y="1163"/>
                    </a:cubicBezTo>
                    <a:cubicBezTo>
                      <a:pt x="750" y="671"/>
                      <a:pt x="1075" y="359"/>
                      <a:pt x="1439" y="231"/>
                    </a:cubicBezTo>
                    <a:cubicBezTo>
                      <a:pt x="1468" y="325"/>
                      <a:pt x="1524" y="414"/>
                      <a:pt x="1604" y="494"/>
                    </a:cubicBezTo>
                    <a:cubicBezTo>
                      <a:pt x="1683" y="574"/>
                      <a:pt x="1773" y="630"/>
                      <a:pt x="1865" y="659"/>
                    </a:cubicBezTo>
                    <a:cubicBezTo>
                      <a:pt x="1736" y="1021"/>
                      <a:pt x="1425" y="1345"/>
                      <a:pt x="934" y="16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id="{7AB3ED4D-A425-DBC2-8F49-F35BD2502B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1850" y="901700"/>
                <a:ext cx="1416050" cy="1412875"/>
              </a:xfrm>
              <a:custGeom>
                <a:avLst/>
                <a:gdLst>
                  <a:gd name="T0" fmla="*/ 541 w 658"/>
                  <a:gd name="T1" fmla="*/ 117 h 658"/>
                  <a:gd name="T2" fmla="*/ 117 w 658"/>
                  <a:gd name="T3" fmla="*/ 117 h 658"/>
                  <a:gd name="T4" fmla="*/ 117 w 658"/>
                  <a:gd name="T5" fmla="*/ 541 h 658"/>
                  <a:gd name="T6" fmla="*/ 541 w 658"/>
                  <a:gd name="T7" fmla="*/ 541 h 658"/>
                  <a:gd name="T8" fmla="*/ 541 w 658"/>
                  <a:gd name="T9" fmla="*/ 117 h 658"/>
                  <a:gd name="T10" fmla="*/ 456 w 658"/>
                  <a:gd name="T11" fmla="*/ 456 h 658"/>
                  <a:gd name="T12" fmla="*/ 201 w 658"/>
                  <a:gd name="T13" fmla="*/ 456 h 658"/>
                  <a:gd name="T14" fmla="*/ 201 w 658"/>
                  <a:gd name="T15" fmla="*/ 202 h 658"/>
                  <a:gd name="T16" fmla="*/ 456 w 658"/>
                  <a:gd name="T17" fmla="*/ 202 h 658"/>
                  <a:gd name="T18" fmla="*/ 456 w 658"/>
                  <a:gd name="T19" fmla="*/ 4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8" h="658">
                    <a:moveTo>
                      <a:pt x="541" y="117"/>
                    </a:moveTo>
                    <a:cubicBezTo>
                      <a:pt x="424" y="0"/>
                      <a:pt x="233" y="0"/>
                      <a:pt x="117" y="117"/>
                    </a:cubicBezTo>
                    <a:cubicBezTo>
                      <a:pt x="0" y="234"/>
                      <a:pt x="0" y="424"/>
                      <a:pt x="117" y="541"/>
                    </a:cubicBezTo>
                    <a:cubicBezTo>
                      <a:pt x="233" y="658"/>
                      <a:pt x="424" y="658"/>
                      <a:pt x="541" y="541"/>
                    </a:cubicBezTo>
                    <a:cubicBezTo>
                      <a:pt x="658" y="424"/>
                      <a:pt x="658" y="234"/>
                      <a:pt x="541" y="117"/>
                    </a:cubicBezTo>
                    <a:close/>
                    <a:moveTo>
                      <a:pt x="456" y="456"/>
                    </a:moveTo>
                    <a:cubicBezTo>
                      <a:pt x="386" y="527"/>
                      <a:pt x="272" y="527"/>
                      <a:pt x="201" y="456"/>
                    </a:cubicBezTo>
                    <a:cubicBezTo>
                      <a:pt x="131" y="386"/>
                      <a:pt x="131" y="272"/>
                      <a:pt x="201" y="202"/>
                    </a:cubicBezTo>
                    <a:cubicBezTo>
                      <a:pt x="272" y="132"/>
                      <a:pt x="386" y="132"/>
                      <a:pt x="456" y="202"/>
                    </a:cubicBezTo>
                    <a:cubicBezTo>
                      <a:pt x="526" y="272"/>
                      <a:pt x="526" y="386"/>
                      <a:pt x="456" y="45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AF8B6A8-F679-A1B1-E000-E8E4D05FB28F}"/>
                </a:ext>
              </a:extLst>
            </p:cNvPr>
            <p:cNvGrpSpPr/>
            <p:nvPr/>
          </p:nvGrpSpPr>
          <p:grpSpPr>
            <a:xfrm>
              <a:off x="16477729" y="5106633"/>
              <a:ext cx="619935" cy="689368"/>
              <a:chOff x="7658100" y="-708025"/>
              <a:chExt cx="3954463" cy="4397375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4" name="Freeform 33">
                <a:extLst>
                  <a:ext uri="{FF2B5EF4-FFF2-40B4-BE49-F238E27FC236}">
                    <a16:creationId xmlns:a16="http://schemas.microsoft.com/office/drawing/2014/main" id="{D248AA97-EBA2-05FF-3330-5E4AB7647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58100" y="-708025"/>
                <a:ext cx="3954463" cy="4397375"/>
              </a:xfrm>
              <a:custGeom>
                <a:avLst/>
                <a:gdLst>
                  <a:gd name="T0" fmla="*/ 1716 w 1836"/>
                  <a:gd name="T1" fmla="*/ 844 h 2048"/>
                  <a:gd name="T2" fmla="*/ 1836 w 1836"/>
                  <a:gd name="T3" fmla="*/ 551 h 2048"/>
                  <a:gd name="T4" fmla="*/ 1476 w 1836"/>
                  <a:gd name="T5" fmla="*/ 0 h 2048"/>
                  <a:gd name="T6" fmla="*/ 336 w 1836"/>
                  <a:gd name="T7" fmla="*/ 124 h 2048"/>
                  <a:gd name="T8" fmla="*/ 143 w 1836"/>
                  <a:gd name="T9" fmla="*/ 194 h 2048"/>
                  <a:gd name="T10" fmla="*/ 419 w 1836"/>
                  <a:gd name="T11" fmla="*/ 989 h 2048"/>
                  <a:gd name="T12" fmla="*/ 396 w 1836"/>
                  <a:gd name="T13" fmla="*/ 1599 h 2048"/>
                  <a:gd name="T14" fmla="*/ 36 w 1836"/>
                  <a:gd name="T15" fmla="*/ 1684 h 2048"/>
                  <a:gd name="T16" fmla="*/ 1836 w 1836"/>
                  <a:gd name="T17" fmla="*/ 2048 h 2048"/>
                  <a:gd name="T18" fmla="*/ 1561 w 1836"/>
                  <a:gd name="T19" fmla="*/ 1684 h 2048"/>
                  <a:gd name="T20" fmla="*/ 1476 w 1836"/>
                  <a:gd name="T21" fmla="*/ 1144 h 2048"/>
                  <a:gd name="T22" fmla="*/ 881 w 1836"/>
                  <a:gd name="T23" fmla="*/ 607 h 2048"/>
                  <a:gd name="T24" fmla="*/ 1476 w 1836"/>
                  <a:gd name="T25" fmla="*/ 484 h 2048"/>
                  <a:gd name="T26" fmla="*/ 1549 w 1836"/>
                  <a:gd name="T27" fmla="*/ 844 h 2048"/>
                  <a:gd name="T28" fmla="*/ 1596 w 1836"/>
                  <a:gd name="T29" fmla="*/ 963 h 2048"/>
                  <a:gd name="T30" fmla="*/ 1643 w 1836"/>
                  <a:gd name="T31" fmla="*/ 724 h 2048"/>
                  <a:gd name="T32" fmla="*/ 1699 w 1836"/>
                  <a:gd name="T33" fmla="*/ 604 h 2048"/>
                  <a:gd name="T34" fmla="*/ 1643 w 1836"/>
                  <a:gd name="T35" fmla="*/ 724 h 2048"/>
                  <a:gd name="T36" fmla="*/ 1716 w 1836"/>
                  <a:gd name="T37" fmla="*/ 484 h 2048"/>
                  <a:gd name="T38" fmla="*/ 1596 w 1836"/>
                  <a:gd name="T39" fmla="*/ 120 h 2048"/>
                  <a:gd name="T40" fmla="*/ 1716 w 1836"/>
                  <a:gd name="T41" fmla="*/ 1804 h 2048"/>
                  <a:gd name="T42" fmla="*/ 156 w 1836"/>
                  <a:gd name="T43" fmla="*/ 1928 h 2048"/>
                  <a:gd name="T44" fmla="*/ 361 w 1836"/>
                  <a:gd name="T45" fmla="*/ 1804 h 2048"/>
                  <a:gd name="T46" fmla="*/ 1391 w 1836"/>
                  <a:gd name="T47" fmla="*/ 1684 h 2048"/>
                  <a:gd name="T48" fmla="*/ 1716 w 1836"/>
                  <a:gd name="T49" fmla="*/ 1804 h 2048"/>
                  <a:gd name="T50" fmla="*/ 1356 w 1836"/>
                  <a:gd name="T51" fmla="*/ 1564 h 2048"/>
                  <a:gd name="T52" fmla="*/ 516 w 1836"/>
                  <a:gd name="T53" fmla="*/ 1144 h 2048"/>
                  <a:gd name="T54" fmla="*/ 1356 w 1836"/>
                  <a:gd name="T55" fmla="*/ 1144 h 2048"/>
                  <a:gd name="T56" fmla="*/ 198 w 1836"/>
                  <a:gd name="T57" fmla="*/ 540 h 2048"/>
                  <a:gd name="T58" fmla="*/ 474 w 1836"/>
                  <a:gd name="T59" fmla="*/ 308 h 2048"/>
                  <a:gd name="T60" fmla="*/ 473 w 1836"/>
                  <a:gd name="T61" fmla="*/ 867 h 2048"/>
                  <a:gd name="T62" fmla="*/ 577 w 1836"/>
                  <a:gd name="T63" fmla="*/ 244 h 2048"/>
                  <a:gd name="T64" fmla="*/ 1476 w 1836"/>
                  <a:gd name="T65" fmla="*/ 36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36" h="2048">
                    <a:moveTo>
                      <a:pt x="1716" y="963"/>
                    </a:moveTo>
                    <a:cubicBezTo>
                      <a:pt x="1716" y="844"/>
                      <a:pt x="1716" y="844"/>
                      <a:pt x="1716" y="844"/>
                    </a:cubicBezTo>
                    <a:cubicBezTo>
                      <a:pt x="1763" y="844"/>
                      <a:pt x="1763" y="844"/>
                      <a:pt x="1763" y="844"/>
                    </a:cubicBezTo>
                    <a:cubicBezTo>
                      <a:pt x="1836" y="551"/>
                      <a:pt x="1836" y="551"/>
                      <a:pt x="1836" y="551"/>
                    </a:cubicBezTo>
                    <a:cubicBezTo>
                      <a:pt x="1836" y="0"/>
                      <a:pt x="1836" y="0"/>
                      <a:pt x="1836" y="0"/>
                    </a:cubicBezTo>
                    <a:cubicBezTo>
                      <a:pt x="1476" y="0"/>
                      <a:pt x="1476" y="0"/>
                      <a:pt x="1476" y="0"/>
                    </a:cubicBezTo>
                    <a:cubicBezTo>
                      <a:pt x="1476" y="124"/>
                      <a:pt x="1476" y="124"/>
                      <a:pt x="1476" y="124"/>
                    </a:cubicBezTo>
                    <a:cubicBezTo>
                      <a:pt x="336" y="124"/>
                      <a:pt x="336" y="124"/>
                      <a:pt x="336" y="124"/>
                    </a:cubicBezTo>
                    <a:cubicBezTo>
                      <a:pt x="336" y="124"/>
                      <a:pt x="336" y="124"/>
                      <a:pt x="336" y="124"/>
                    </a:cubicBezTo>
                    <a:cubicBezTo>
                      <a:pt x="265" y="124"/>
                      <a:pt x="198" y="148"/>
                      <a:pt x="143" y="194"/>
                    </a:cubicBezTo>
                    <a:cubicBezTo>
                      <a:pt x="16" y="301"/>
                      <a:pt x="0" y="490"/>
                      <a:pt x="106" y="617"/>
                    </a:cubicBezTo>
                    <a:cubicBezTo>
                      <a:pt x="419" y="989"/>
                      <a:pt x="419" y="989"/>
                      <a:pt x="419" y="989"/>
                    </a:cubicBezTo>
                    <a:cubicBezTo>
                      <a:pt x="404" y="1038"/>
                      <a:pt x="396" y="1090"/>
                      <a:pt x="396" y="1144"/>
                    </a:cubicBezTo>
                    <a:cubicBezTo>
                      <a:pt x="396" y="1599"/>
                      <a:pt x="396" y="1599"/>
                      <a:pt x="396" y="1599"/>
                    </a:cubicBezTo>
                    <a:cubicBezTo>
                      <a:pt x="311" y="1684"/>
                      <a:pt x="311" y="1684"/>
                      <a:pt x="311" y="1684"/>
                    </a:cubicBezTo>
                    <a:cubicBezTo>
                      <a:pt x="36" y="1684"/>
                      <a:pt x="36" y="1684"/>
                      <a:pt x="36" y="1684"/>
                    </a:cubicBezTo>
                    <a:cubicBezTo>
                      <a:pt x="36" y="2048"/>
                      <a:pt x="36" y="2048"/>
                      <a:pt x="36" y="2048"/>
                    </a:cubicBezTo>
                    <a:cubicBezTo>
                      <a:pt x="1836" y="2048"/>
                      <a:pt x="1836" y="2048"/>
                      <a:pt x="1836" y="2048"/>
                    </a:cubicBezTo>
                    <a:cubicBezTo>
                      <a:pt x="1836" y="1684"/>
                      <a:pt x="1836" y="1684"/>
                      <a:pt x="1836" y="1684"/>
                    </a:cubicBezTo>
                    <a:cubicBezTo>
                      <a:pt x="1561" y="1684"/>
                      <a:pt x="1561" y="1684"/>
                      <a:pt x="1561" y="1684"/>
                    </a:cubicBezTo>
                    <a:cubicBezTo>
                      <a:pt x="1476" y="1599"/>
                      <a:pt x="1476" y="1599"/>
                      <a:pt x="1476" y="1599"/>
                    </a:cubicBezTo>
                    <a:cubicBezTo>
                      <a:pt x="1476" y="1144"/>
                      <a:pt x="1476" y="1144"/>
                      <a:pt x="1476" y="1144"/>
                    </a:cubicBezTo>
                    <a:cubicBezTo>
                      <a:pt x="1476" y="846"/>
                      <a:pt x="1234" y="604"/>
                      <a:pt x="936" y="604"/>
                    </a:cubicBezTo>
                    <a:cubicBezTo>
                      <a:pt x="917" y="604"/>
                      <a:pt x="899" y="605"/>
                      <a:pt x="881" y="607"/>
                    </a:cubicBezTo>
                    <a:cubicBezTo>
                      <a:pt x="778" y="484"/>
                      <a:pt x="778" y="484"/>
                      <a:pt x="778" y="484"/>
                    </a:cubicBezTo>
                    <a:cubicBezTo>
                      <a:pt x="1476" y="484"/>
                      <a:pt x="1476" y="484"/>
                      <a:pt x="1476" y="484"/>
                    </a:cubicBezTo>
                    <a:cubicBezTo>
                      <a:pt x="1476" y="551"/>
                      <a:pt x="1476" y="551"/>
                      <a:pt x="1476" y="551"/>
                    </a:cubicBezTo>
                    <a:cubicBezTo>
                      <a:pt x="1549" y="844"/>
                      <a:pt x="1549" y="844"/>
                      <a:pt x="1549" y="844"/>
                    </a:cubicBezTo>
                    <a:cubicBezTo>
                      <a:pt x="1596" y="844"/>
                      <a:pt x="1596" y="844"/>
                      <a:pt x="1596" y="844"/>
                    </a:cubicBezTo>
                    <a:cubicBezTo>
                      <a:pt x="1596" y="963"/>
                      <a:pt x="1596" y="963"/>
                      <a:pt x="1596" y="963"/>
                    </a:cubicBezTo>
                    <a:lnTo>
                      <a:pt x="1716" y="963"/>
                    </a:lnTo>
                    <a:close/>
                    <a:moveTo>
                      <a:pt x="1643" y="724"/>
                    </a:moveTo>
                    <a:cubicBezTo>
                      <a:pt x="1613" y="604"/>
                      <a:pt x="1613" y="604"/>
                      <a:pt x="1613" y="604"/>
                    </a:cubicBezTo>
                    <a:cubicBezTo>
                      <a:pt x="1699" y="604"/>
                      <a:pt x="1699" y="604"/>
                      <a:pt x="1699" y="604"/>
                    </a:cubicBezTo>
                    <a:cubicBezTo>
                      <a:pt x="1669" y="724"/>
                      <a:pt x="1669" y="724"/>
                      <a:pt x="1669" y="724"/>
                    </a:cubicBezTo>
                    <a:lnTo>
                      <a:pt x="1643" y="724"/>
                    </a:lnTo>
                    <a:close/>
                    <a:moveTo>
                      <a:pt x="1716" y="120"/>
                    </a:moveTo>
                    <a:cubicBezTo>
                      <a:pt x="1716" y="484"/>
                      <a:pt x="1716" y="484"/>
                      <a:pt x="1716" y="484"/>
                    </a:cubicBezTo>
                    <a:cubicBezTo>
                      <a:pt x="1596" y="484"/>
                      <a:pt x="1596" y="484"/>
                      <a:pt x="1596" y="484"/>
                    </a:cubicBezTo>
                    <a:cubicBezTo>
                      <a:pt x="1596" y="120"/>
                      <a:pt x="1596" y="120"/>
                      <a:pt x="1596" y="120"/>
                    </a:cubicBezTo>
                    <a:lnTo>
                      <a:pt x="1716" y="120"/>
                    </a:lnTo>
                    <a:close/>
                    <a:moveTo>
                      <a:pt x="1716" y="1804"/>
                    </a:moveTo>
                    <a:cubicBezTo>
                      <a:pt x="1716" y="1928"/>
                      <a:pt x="1716" y="1928"/>
                      <a:pt x="1716" y="1928"/>
                    </a:cubicBezTo>
                    <a:cubicBezTo>
                      <a:pt x="156" y="1928"/>
                      <a:pt x="156" y="1928"/>
                      <a:pt x="156" y="1928"/>
                    </a:cubicBezTo>
                    <a:cubicBezTo>
                      <a:pt x="156" y="1804"/>
                      <a:pt x="156" y="1804"/>
                      <a:pt x="156" y="1804"/>
                    </a:cubicBezTo>
                    <a:cubicBezTo>
                      <a:pt x="361" y="1804"/>
                      <a:pt x="361" y="1804"/>
                      <a:pt x="361" y="1804"/>
                    </a:cubicBezTo>
                    <a:cubicBezTo>
                      <a:pt x="481" y="1684"/>
                      <a:pt x="481" y="1684"/>
                      <a:pt x="481" y="1684"/>
                    </a:cubicBezTo>
                    <a:cubicBezTo>
                      <a:pt x="1391" y="1684"/>
                      <a:pt x="1391" y="1684"/>
                      <a:pt x="1391" y="1684"/>
                    </a:cubicBezTo>
                    <a:cubicBezTo>
                      <a:pt x="1511" y="1804"/>
                      <a:pt x="1511" y="1804"/>
                      <a:pt x="1511" y="1804"/>
                    </a:cubicBezTo>
                    <a:lnTo>
                      <a:pt x="1716" y="1804"/>
                    </a:lnTo>
                    <a:close/>
                    <a:moveTo>
                      <a:pt x="1356" y="1144"/>
                    </a:moveTo>
                    <a:cubicBezTo>
                      <a:pt x="1356" y="1564"/>
                      <a:pt x="1356" y="1564"/>
                      <a:pt x="1356" y="1564"/>
                    </a:cubicBezTo>
                    <a:cubicBezTo>
                      <a:pt x="516" y="1564"/>
                      <a:pt x="516" y="1564"/>
                      <a:pt x="516" y="1564"/>
                    </a:cubicBezTo>
                    <a:cubicBezTo>
                      <a:pt x="516" y="1144"/>
                      <a:pt x="516" y="1144"/>
                      <a:pt x="516" y="1144"/>
                    </a:cubicBezTo>
                    <a:cubicBezTo>
                      <a:pt x="516" y="912"/>
                      <a:pt x="704" y="724"/>
                      <a:pt x="936" y="724"/>
                    </a:cubicBezTo>
                    <a:cubicBezTo>
                      <a:pt x="1168" y="724"/>
                      <a:pt x="1356" y="912"/>
                      <a:pt x="1356" y="1144"/>
                    </a:cubicBezTo>
                    <a:close/>
                    <a:moveTo>
                      <a:pt x="473" y="867"/>
                    </a:moveTo>
                    <a:cubicBezTo>
                      <a:pt x="198" y="540"/>
                      <a:pt x="198" y="540"/>
                      <a:pt x="198" y="540"/>
                    </a:cubicBezTo>
                    <a:cubicBezTo>
                      <a:pt x="134" y="464"/>
                      <a:pt x="144" y="350"/>
                      <a:pt x="220" y="286"/>
                    </a:cubicBezTo>
                    <a:cubicBezTo>
                      <a:pt x="297" y="222"/>
                      <a:pt x="410" y="232"/>
                      <a:pt x="474" y="308"/>
                    </a:cubicBezTo>
                    <a:cubicBezTo>
                      <a:pt x="750" y="637"/>
                      <a:pt x="750" y="637"/>
                      <a:pt x="750" y="637"/>
                    </a:cubicBezTo>
                    <a:cubicBezTo>
                      <a:pt x="633" y="680"/>
                      <a:pt x="536" y="762"/>
                      <a:pt x="473" y="867"/>
                    </a:cubicBezTo>
                    <a:close/>
                    <a:moveTo>
                      <a:pt x="677" y="364"/>
                    </a:moveTo>
                    <a:cubicBezTo>
                      <a:pt x="577" y="244"/>
                      <a:pt x="577" y="244"/>
                      <a:pt x="577" y="244"/>
                    </a:cubicBezTo>
                    <a:cubicBezTo>
                      <a:pt x="1476" y="244"/>
                      <a:pt x="1476" y="244"/>
                      <a:pt x="1476" y="244"/>
                    </a:cubicBezTo>
                    <a:cubicBezTo>
                      <a:pt x="1476" y="364"/>
                      <a:pt x="1476" y="364"/>
                      <a:pt x="1476" y="364"/>
                    </a:cubicBezTo>
                    <a:lnTo>
                      <a:pt x="677" y="36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5" name="Freeform 34">
                <a:extLst>
                  <a:ext uri="{FF2B5EF4-FFF2-40B4-BE49-F238E27FC236}">
                    <a16:creationId xmlns:a16="http://schemas.microsoft.com/office/drawing/2014/main" id="{83790915-F1A2-998D-930E-366FFF84F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64613" y="1041400"/>
                <a:ext cx="1417638" cy="1412875"/>
              </a:xfrm>
              <a:custGeom>
                <a:avLst/>
                <a:gdLst>
                  <a:gd name="T0" fmla="*/ 117 w 658"/>
                  <a:gd name="T1" fmla="*/ 541 h 658"/>
                  <a:gd name="T2" fmla="*/ 541 w 658"/>
                  <a:gd name="T3" fmla="*/ 541 h 658"/>
                  <a:gd name="T4" fmla="*/ 541 w 658"/>
                  <a:gd name="T5" fmla="*/ 117 h 658"/>
                  <a:gd name="T6" fmla="*/ 117 w 658"/>
                  <a:gd name="T7" fmla="*/ 117 h 658"/>
                  <a:gd name="T8" fmla="*/ 117 w 658"/>
                  <a:gd name="T9" fmla="*/ 541 h 658"/>
                  <a:gd name="T10" fmla="*/ 202 w 658"/>
                  <a:gd name="T11" fmla="*/ 456 h 658"/>
                  <a:gd name="T12" fmla="*/ 167 w 658"/>
                  <a:gd name="T13" fmla="*/ 251 h 658"/>
                  <a:gd name="T14" fmla="*/ 407 w 658"/>
                  <a:gd name="T15" fmla="*/ 491 h 658"/>
                  <a:gd name="T16" fmla="*/ 202 w 658"/>
                  <a:gd name="T17" fmla="*/ 456 h 658"/>
                  <a:gd name="T18" fmla="*/ 456 w 658"/>
                  <a:gd name="T19" fmla="*/ 202 h 658"/>
                  <a:gd name="T20" fmla="*/ 491 w 658"/>
                  <a:gd name="T21" fmla="*/ 407 h 658"/>
                  <a:gd name="T22" fmla="*/ 251 w 658"/>
                  <a:gd name="T23" fmla="*/ 167 h 658"/>
                  <a:gd name="T24" fmla="*/ 456 w 658"/>
                  <a:gd name="T25" fmla="*/ 202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8" h="658">
                    <a:moveTo>
                      <a:pt x="117" y="541"/>
                    </a:moveTo>
                    <a:cubicBezTo>
                      <a:pt x="234" y="658"/>
                      <a:pt x="424" y="658"/>
                      <a:pt x="541" y="541"/>
                    </a:cubicBezTo>
                    <a:cubicBezTo>
                      <a:pt x="658" y="424"/>
                      <a:pt x="658" y="234"/>
                      <a:pt x="541" y="117"/>
                    </a:cubicBezTo>
                    <a:cubicBezTo>
                      <a:pt x="424" y="0"/>
                      <a:pt x="234" y="0"/>
                      <a:pt x="117" y="117"/>
                    </a:cubicBezTo>
                    <a:cubicBezTo>
                      <a:pt x="0" y="234"/>
                      <a:pt x="0" y="424"/>
                      <a:pt x="117" y="541"/>
                    </a:cubicBezTo>
                    <a:close/>
                    <a:moveTo>
                      <a:pt x="202" y="456"/>
                    </a:moveTo>
                    <a:cubicBezTo>
                      <a:pt x="146" y="401"/>
                      <a:pt x="135" y="318"/>
                      <a:pt x="167" y="251"/>
                    </a:cubicBezTo>
                    <a:cubicBezTo>
                      <a:pt x="407" y="491"/>
                      <a:pt x="407" y="491"/>
                      <a:pt x="407" y="491"/>
                    </a:cubicBezTo>
                    <a:cubicBezTo>
                      <a:pt x="340" y="523"/>
                      <a:pt x="257" y="512"/>
                      <a:pt x="202" y="456"/>
                    </a:cubicBezTo>
                    <a:close/>
                    <a:moveTo>
                      <a:pt x="456" y="202"/>
                    </a:moveTo>
                    <a:cubicBezTo>
                      <a:pt x="512" y="257"/>
                      <a:pt x="523" y="340"/>
                      <a:pt x="491" y="407"/>
                    </a:cubicBezTo>
                    <a:cubicBezTo>
                      <a:pt x="251" y="167"/>
                      <a:pt x="251" y="167"/>
                      <a:pt x="251" y="167"/>
                    </a:cubicBezTo>
                    <a:cubicBezTo>
                      <a:pt x="319" y="135"/>
                      <a:pt x="401" y="147"/>
                      <a:pt x="456" y="20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6" name="Freeform 35">
                <a:extLst>
                  <a:ext uri="{FF2B5EF4-FFF2-40B4-BE49-F238E27FC236}">
                    <a16:creationId xmlns:a16="http://schemas.microsoft.com/office/drawing/2014/main" id="{381EFED7-2BCA-EFC2-50CD-C88BF47A3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7850" y="20638"/>
                <a:ext cx="366713" cy="363538"/>
              </a:xfrm>
              <a:custGeom>
                <a:avLst/>
                <a:gdLst>
                  <a:gd name="T0" fmla="*/ 116 w 231"/>
                  <a:gd name="T1" fmla="*/ 229 h 229"/>
                  <a:gd name="T2" fmla="*/ 0 w 231"/>
                  <a:gd name="T3" fmla="*/ 115 h 229"/>
                  <a:gd name="T4" fmla="*/ 116 w 231"/>
                  <a:gd name="T5" fmla="*/ 0 h 229"/>
                  <a:gd name="T6" fmla="*/ 231 w 231"/>
                  <a:gd name="T7" fmla="*/ 115 h 229"/>
                  <a:gd name="T8" fmla="*/ 116 w 231"/>
                  <a:gd name="T9" fmla="*/ 229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1" h="229">
                    <a:moveTo>
                      <a:pt x="116" y="229"/>
                    </a:moveTo>
                    <a:lnTo>
                      <a:pt x="0" y="115"/>
                    </a:lnTo>
                    <a:lnTo>
                      <a:pt x="116" y="0"/>
                    </a:lnTo>
                    <a:lnTo>
                      <a:pt x="231" y="115"/>
                    </a:lnTo>
                    <a:lnTo>
                      <a:pt x="116" y="22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80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05F018F0-51A6-4327-DEEA-DB073F19D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681753" y="5991698"/>
              <a:ext cx="1724637" cy="1498170"/>
            </a:xfrm>
            <a:prstGeom prst="rect">
              <a:avLst/>
            </a:prstGeom>
          </p:spPr>
        </p:pic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93AC7D2A-388A-33F9-9815-0A54B95F9E94}"/>
              </a:ext>
            </a:extLst>
          </p:cNvPr>
          <p:cNvSpPr txBox="1"/>
          <p:nvPr/>
        </p:nvSpPr>
        <p:spPr>
          <a:xfrm>
            <a:off x="9507514" y="11208889"/>
            <a:ext cx="120936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>
                <a:solidFill>
                  <a:schemeClr val="accent1">
                    <a:lumMod val="50000"/>
                  </a:schemeClr>
                </a:solidFill>
              </a:rPr>
              <a:t>Connect</a:t>
            </a:r>
            <a:r>
              <a:rPr lang="en-US" sz="4800" b="1">
                <a:solidFill>
                  <a:schemeClr val="accent1">
                    <a:lumMod val="50000"/>
                  </a:schemeClr>
                </a:solidFill>
              </a:rPr>
              <a:t> “One Engineering Department” </a:t>
            </a:r>
            <a:r>
              <a:rPr lang="en-US" sz="4800">
                <a:solidFill>
                  <a:schemeClr val="accent1">
                    <a:lumMod val="50000"/>
                  </a:schemeClr>
                </a:solidFill>
              </a:rPr>
              <a:t>to support </a:t>
            </a:r>
            <a:r>
              <a:rPr lang="en-US" sz="4800" b="1">
                <a:solidFill>
                  <a:schemeClr val="accent1">
                    <a:lumMod val="50000"/>
                  </a:schemeClr>
                </a:solidFill>
              </a:rPr>
              <a:t>world class delivery.</a:t>
            </a:r>
          </a:p>
        </p:txBody>
      </p:sp>
    </p:spTree>
    <p:extLst>
      <p:ext uri="{BB962C8B-B14F-4D97-AF65-F5344CB8AC3E}">
        <p14:creationId xmlns:p14="http://schemas.microsoft.com/office/powerpoint/2010/main" val="2721070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5" grpId="0"/>
      <p:bldP spid="15" grpId="1"/>
      <p:bldP spid="6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810181" cy="1447442"/>
          </a:xfrm>
        </p:spPr>
        <p:txBody>
          <a:bodyPr/>
          <a:lstStyle/>
          <a:p>
            <a:r>
              <a:rPr lang="en-US"/>
              <a:t>Digital Transformation Organiz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90E7A6-C708-431F-82C9-7C7917F8BF7E}"/>
              </a:ext>
            </a:extLst>
          </p:cNvPr>
          <p:cNvSpPr/>
          <p:nvPr/>
        </p:nvSpPr>
        <p:spPr>
          <a:xfrm>
            <a:off x="5059680" y="2624159"/>
            <a:ext cx="23439120" cy="105120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Connect as “One Engineering Department” to support world class delive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224DDC-564D-43BD-9E55-8D35614F65B8}"/>
              </a:ext>
            </a:extLst>
          </p:cNvPr>
          <p:cNvSpPr/>
          <p:nvPr/>
        </p:nvSpPr>
        <p:spPr>
          <a:xfrm>
            <a:off x="1422352" y="2624159"/>
            <a:ext cx="3302048" cy="1051202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Objectiv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514149-8D40-4F13-896D-FB4CA4D457EE}"/>
              </a:ext>
            </a:extLst>
          </p:cNvPr>
          <p:cNvSpPr/>
          <p:nvPr/>
        </p:nvSpPr>
        <p:spPr>
          <a:xfrm>
            <a:off x="1422352" y="3900390"/>
            <a:ext cx="3302048" cy="1051202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Strategic Them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66638B-E859-417C-9EB9-E6CCB6D76E18}"/>
              </a:ext>
            </a:extLst>
          </p:cNvPr>
          <p:cNvSpPr/>
          <p:nvPr/>
        </p:nvSpPr>
        <p:spPr>
          <a:xfrm>
            <a:off x="5059680" y="3900390"/>
            <a:ext cx="5486400" cy="10512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Digitize and Automa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05EEEC9-F716-477C-8AE6-705C3FE49AE9}"/>
              </a:ext>
            </a:extLst>
          </p:cNvPr>
          <p:cNvSpPr/>
          <p:nvPr/>
        </p:nvSpPr>
        <p:spPr>
          <a:xfrm>
            <a:off x="23012400" y="3900390"/>
            <a:ext cx="5486400" cy="10512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Culture of Innov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CFF73A-3C61-4EFD-AB51-62F3DAC3EEC8}"/>
              </a:ext>
            </a:extLst>
          </p:cNvPr>
          <p:cNvSpPr/>
          <p:nvPr/>
        </p:nvSpPr>
        <p:spPr>
          <a:xfrm>
            <a:off x="11043920" y="3900390"/>
            <a:ext cx="5486400" cy="10512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Project Deliver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C4AF1A-19B1-456C-906B-1AFC5FF3587A}"/>
              </a:ext>
            </a:extLst>
          </p:cNvPr>
          <p:cNvSpPr/>
          <p:nvPr/>
        </p:nvSpPr>
        <p:spPr>
          <a:xfrm>
            <a:off x="17028160" y="3900390"/>
            <a:ext cx="5486400" cy="10512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Customer Experien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021CCC-E91D-4516-B5A1-1DD5E2F8873F}"/>
              </a:ext>
            </a:extLst>
          </p:cNvPr>
          <p:cNvSpPr/>
          <p:nvPr/>
        </p:nvSpPr>
        <p:spPr>
          <a:xfrm>
            <a:off x="1422352" y="5176619"/>
            <a:ext cx="3302048" cy="8467145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Workstreams and Tactic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8AB8E1-1F8B-40C8-B7F4-BA4DF6B6286D}"/>
              </a:ext>
            </a:extLst>
          </p:cNvPr>
          <p:cNvSpPr/>
          <p:nvPr/>
        </p:nvSpPr>
        <p:spPr>
          <a:xfrm>
            <a:off x="5059680" y="5214125"/>
            <a:ext cx="14721840" cy="6047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Unit Transform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5598050-4949-451C-ABDF-B331C2912DBD}"/>
              </a:ext>
            </a:extLst>
          </p:cNvPr>
          <p:cNvSpPr/>
          <p:nvPr/>
        </p:nvSpPr>
        <p:spPr>
          <a:xfrm>
            <a:off x="19903440" y="5214125"/>
            <a:ext cx="8595360" cy="60478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Initiatives and Productiz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4868A73-512A-4C0B-8CCC-4DF0AC854BC0}"/>
              </a:ext>
            </a:extLst>
          </p:cNvPr>
          <p:cNvSpPr/>
          <p:nvPr/>
        </p:nvSpPr>
        <p:spPr>
          <a:xfrm>
            <a:off x="5049520" y="5911921"/>
            <a:ext cx="14721840" cy="12513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latin typeface="Segoe UI" panose="020B0502040204020203" pitchFamily="34" charset="0"/>
                <a:cs typeface="Segoe UI" panose="020B0502040204020203" pitchFamily="34" charset="0"/>
              </a:rPr>
              <a:t>Connect the units to perform as one department through common processes, shared data and technology that supports the delivery of each func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5E17B84-1A84-4578-BB91-B3547067552B}"/>
              </a:ext>
            </a:extLst>
          </p:cNvPr>
          <p:cNvSpPr/>
          <p:nvPr/>
        </p:nvSpPr>
        <p:spPr>
          <a:xfrm>
            <a:off x="19903440" y="5911922"/>
            <a:ext cx="8605520" cy="125134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i="1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Produce a solution that meets everyday needs of the department, our people and our projects</a:t>
            </a:r>
            <a:endParaRPr lang="en-US" sz="48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38ED98-F77B-4BB4-A018-911B410FF5C7}"/>
              </a:ext>
            </a:extLst>
          </p:cNvPr>
          <p:cNvSpPr/>
          <p:nvPr/>
        </p:nvSpPr>
        <p:spPr>
          <a:xfrm rot="5400000">
            <a:off x="11958320" y="451173"/>
            <a:ext cx="914400" cy="1471167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1. What we do, how do we do it and who do we do it with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A922E4-E48D-475C-8128-29617A68F714}"/>
              </a:ext>
            </a:extLst>
          </p:cNvPr>
          <p:cNvSpPr/>
          <p:nvPr/>
        </p:nvSpPr>
        <p:spPr>
          <a:xfrm rot="5400000">
            <a:off x="11947697" y="1511844"/>
            <a:ext cx="944880" cy="147116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2. The services that the unit provides and the interactions that unit has with other units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C5DE8FD-7432-46F5-A299-A3B0C538A779}"/>
              </a:ext>
            </a:extLst>
          </p:cNvPr>
          <p:cNvSpPr/>
          <p:nvPr/>
        </p:nvSpPr>
        <p:spPr>
          <a:xfrm rot="5400000">
            <a:off x="11933353" y="2597482"/>
            <a:ext cx="944880" cy="1469222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3. The data that the unit produces, collects or uses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0BD8EFF-6A02-471E-A352-0B800FFDD797}"/>
              </a:ext>
            </a:extLst>
          </p:cNvPr>
          <p:cNvSpPr/>
          <p:nvPr/>
        </p:nvSpPr>
        <p:spPr>
          <a:xfrm rot="5400000">
            <a:off x="11933354" y="3673392"/>
            <a:ext cx="944880" cy="1469222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>
                <a:latin typeface="Segoe UI" panose="020B0502040204020203" pitchFamily="34" charset="0"/>
                <a:cs typeface="Segoe UI" panose="020B0502040204020203" pitchFamily="34" charset="0"/>
              </a:rPr>
              <a:t>4. The technology or systems that the unit us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F87FCD-ED88-4621-94F8-36CABFE6DC7D}"/>
              </a:ext>
            </a:extLst>
          </p:cNvPr>
          <p:cNvSpPr/>
          <p:nvPr/>
        </p:nvSpPr>
        <p:spPr>
          <a:xfrm rot="5400000">
            <a:off x="11933353" y="4749303"/>
            <a:ext cx="944881" cy="1469222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5. The procedures and processes that are in use and how they connect with other units in the value chai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148A80B-EF7C-4A11-A528-7AE691E08322}"/>
              </a:ext>
            </a:extLst>
          </p:cNvPr>
          <p:cNvSpPr/>
          <p:nvPr/>
        </p:nvSpPr>
        <p:spPr>
          <a:xfrm rot="5400000">
            <a:off x="11923192" y="5825212"/>
            <a:ext cx="944880" cy="1469222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6. The skills, competencies and knowledge that exist within the unit and how that can be captured, retained and shar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4C34C1F-D879-4276-A146-50DE0006F02D}"/>
              </a:ext>
            </a:extLst>
          </p:cNvPr>
          <p:cNvSpPr/>
          <p:nvPr/>
        </p:nvSpPr>
        <p:spPr>
          <a:xfrm rot="5400000">
            <a:off x="23718518" y="3524573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1. Define the problem or the challeng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8930D65-E2B6-4EB0-987F-5F0A1C0D82C2}"/>
              </a:ext>
            </a:extLst>
          </p:cNvPr>
          <p:cNvSpPr/>
          <p:nvPr/>
        </p:nvSpPr>
        <p:spPr>
          <a:xfrm rot="5400000">
            <a:off x="23718518" y="4570002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2. Identify the data, process and procedure and technology requirements for a solu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3EE4A83-A132-4B3C-A7B6-5DCD1B24B72E}"/>
              </a:ext>
            </a:extLst>
          </p:cNvPr>
          <p:cNvSpPr/>
          <p:nvPr/>
        </p:nvSpPr>
        <p:spPr>
          <a:xfrm rot="5400000">
            <a:off x="23718518" y="5656595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3. Develop a minimal viable product (MVP) and test with user grou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7AB10AB-2C8E-5DF9-059C-4B724CFE49AC}"/>
              </a:ext>
            </a:extLst>
          </p:cNvPr>
          <p:cNvSpPr/>
          <p:nvPr/>
        </p:nvSpPr>
        <p:spPr>
          <a:xfrm rot="5400000">
            <a:off x="23718518" y="6721824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4. Deploy MVP and gather feedbac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765680-785F-8441-7C4E-A1674C893691}"/>
              </a:ext>
            </a:extLst>
          </p:cNvPr>
          <p:cNvSpPr/>
          <p:nvPr/>
        </p:nvSpPr>
        <p:spPr>
          <a:xfrm rot="5400000">
            <a:off x="23718518" y="7797734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5. Decide on build or buy to scale solu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EE5EE0-942B-507A-7AB7-5BA7BD400740}"/>
              </a:ext>
            </a:extLst>
          </p:cNvPr>
          <p:cNvSpPr/>
          <p:nvPr/>
        </p:nvSpPr>
        <p:spPr>
          <a:xfrm rot="5400000">
            <a:off x="23718518" y="8873644"/>
            <a:ext cx="944882" cy="85953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800" dirty="0">
                <a:latin typeface="Segoe UI" panose="020B0502040204020203" pitchFamily="34" charset="0"/>
                <a:cs typeface="Segoe UI" panose="020B0502040204020203" pitchFamily="34" charset="0"/>
              </a:rPr>
              <a:t>6. Monitor and support for continuous improvement</a:t>
            </a:r>
          </a:p>
        </p:txBody>
      </p:sp>
    </p:spTree>
    <p:extLst>
      <p:ext uri="{BB962C8B-B14F-4D97-AF65-F5344CB8AC3E}">
        <p14:creationId xmlns:p14="http://schemas.microsoft.com/office/powerpoint/2010/main" val="3977934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2" grpId="0" animBg="1"/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" grpId="0" animBg="1"/>
      <p:bldP spid="4" grpId="0" animBg="1"/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19626101" cy="1447442"/>
          </a:xfrm>
        </p:spPr>
        <p:txBody>
          <a:bodyPr/>
          <a:lstStyle/>
          <a:p>
            <a:r>
              <a:rPr lang="en-US"/>
              <a:t>Digital Transformation Tea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6670E4-DE73-4010-831D-5871F22AD3C6}"/>
              </a:ext>
            </a:extLst>
          </p:cNvPr>
          <p:cNvSpPr/>
          <p:nvPr/>
        </p:nvSpPr>
        <p:spPr>
          <a:xfrm>
            <a:off x="14253784" y="1892741"/>
            <a:ext cx="2636875" cy="11003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Executive Sponso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0E85A0B-382D-4706-947E-B55B36BDB0D1}"/>
              </a:ext>
            </a:extLst>
          </p:cNvPr>
          <p:cNvSpPr/>
          <p:nvPr/>
        </p:nvSpPr>
        <p:spPr>
          <a:xfrm>
            <a:off x="18806764" y="7788633"/>
            <a:ext cx="2636875" cy="12121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Legal and Contract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B29275-C93F-4791-8BB7-6B7E2679BDD4}"/>
              </a:ext>
            </a:extLst>
          </p:cNvPr>
          <p:cNvSpPr/>
          <p:nvPr/>
        </p:nvSpPr>
        <p:spPr>
          <a:xfrm>
            <a:off x="6346375" y="7788633"/>
            <a:ext cx="2636875" cy="12121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People and Business Chang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E0DA647-2838-44D6-9C1B-C73E7C14FFD1}"/>
              </a:ext>
            </a:extLst>
          </p:cNvPr>
          <p:cNvSpPr/>
          <p:nvPr/>
        </p:nvSpPr>
        <p:spPr>
          <a:xfrm>
            <a:off x="9505388" y="7788636"/>
            <a:ext cx="2636875" cy="12121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Process Re-Engineerin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ACF3E94-D4D6-4293-A495-FAAFA7C4E8F5}"/>
              </a:ext>
            </a:extLst>
          </p:cNvPr>
          <p:cNvSpPr/>
          <p:nvPr/>
        </p:nvSpPr>
        <p:spPr>
          <a:xfrm>
            <a:off x="12543652" y="7788635"/>
            <a:ext cx="2636875" cy="12121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Data Governanc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B8FC0DC-1728-480C-9A15-3C699336B6DC}"/>
              </a:ext>
            </a:extLst>
          </p:cNvPr>
          <p:cNvSpPr/>
          <p:nvPr/>
        </p:nvSpPr>
        <p:spPr>
          <a:xfrm>
            <a:off x="15708760" y="7788634"/>
            <a:ext cx="2636875" cy="12121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Technology and System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336072E-7D37-46C5-A4C9-B670A75D8A44}"/>
              </a:ext>
            </a:extLst>
          </p:cNvPr>
          <p:cNvCxnSpPr>
            <a:cxnSpLocks/>
            <a:stCxn id="11" idx="2"/>
          </p:cNvCxnSpPr>
          <p:nvPr/>
        </p:nvCxnSpPr>
        <p:spPr>
          <a:xfrm flipH="1">
            <a:off x="15565872" y="2993076"/>
            <a:ext cx="6350" cy="356256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382C8F9D-8D12-4BA6-837A-FA91CFB1C735}"/>
              </a:ext>
            </a:extLst>
          </p:cNvPr>
          <p:cNvCxnSpPr>
            <a:cxnSpLocks/>
            <a:endCxn id="25" idx="0"/>
          </p:cNvCxnSpPr>
          <p:nvPr/>
        </p:nvCxnSpPr>
        <p:spPr>
          <a:xfrm rot="5400000">
            <a:off x="10932952" y="3155713"/>
            <a:ext cx="1364782" cy="7901059"/>
          </a:xfrm>
          <a:prstGeom prst="bentConnector3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BD6592EE-FBF9-4845-A41B-F9186C9BD658}"/>
              </a:ext>
            </a:extLst>
          </p:cNvPr>
          <p:cNvCxnSpPr>
            <a:cxnSpLocks/>
            <a:endCxn id="26" idx="0"/>
          </p:cNvCxnSpPr>
          <p:nvPr/>
        </p:nvCxnSpPr>
        <p:spPr>
          <a:xfrm rot="5400000">
            <a:off x="12512457" y="4735220"/>
            <a:ext cx="1364785" cy="4742046"/>
          </a:xfrm>
          <a:prstGeom prst="bentConnector3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BF2BE401-BC5C-4729-8815-9B5C10D4396E}"/>
              </a:ext>
            </a:extLst>
          </p:cNvPr>
          <p:cNvCxnSpPr>
            <a:cxnSpLocks/>
            <a:endCxn id="29" idx="0"/>
          </p:cNvCxnSpPr>
          <p:nvPr/>
        </p:nvCxnSpPr>
        <p:spPr>
          <a:xfrm rot="5400000">
            <a:off x="14031589" y="6254352"/>
            <a:ext cx="1364784" cy="1703782"/>
          </a:xfrm>
          <a:prstGeom prst="bentConnector3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6A3A58FF-3512-47D5-8DA3-27ACDD0192E4}"/>
              </a:ext>
            </a:extLst>
          </p:cNvPr>
          <p:cNvCxnSpPr>
            <a:cxnSpLocks/>
            <a:endCxn id="30" idx="0"/>
          </p:cNvCxnSpPr>
          <p:nvPr/>
        </p:nvCxnSpPr>
        <p:spPr>
          <a:xfrm rot="16200000" flipH="1">
            <a:off x="15614144" y="6375579"/>
            <a:ext cx="1364783" cy="1461326"/>
          </a:xfrm>
          <a:prstGeom prst="bentConnector3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E162FF32-0B62-4C14-8810-673B3C388605}"/>
              </a:ext>
            </a:extLst>
          </p:cNvPr>
          <p:cNvSpPr/>
          <p:nvPr/>
        </p:nvSpPr>
        <p:spPr>
          <a:xfrm>
            <a:off x="5241192" y="3282154"/>
            <a:ext cx="20607215" cy="6065649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2E24748-B74E-4C4F-BCD3-558BE8B7BCC4}"/>
              </a:ext>
            </a:extLst>
          </p:cNvPr>
          <p:cNvSpPr/>
          <p:nvPr/>
        </p:nvSpPr>
        <p:spPr>
          <a:xfrm>
            <a:off x="6346375" y="10108886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EADD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2AD9D84-0161-4FAC-B3E2-E5E14296DEA7}"/>
              </a:ext>
            </a:extLst>
          </p:cNvPr>
          <p:cNvSpPr/>
          <p:nvPr/>
        </p:nvSpPr>
        <p:spPr>
          <a:xfrm>
            <a:off x="1734578" y="6423851"/>
            <a:ext cx="2636875" cy="12121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Digital Transformation Core Team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2473D06-472E-4594-A71C-6BEC82302A82}"/>
              </a:ext>
            </a:extLst>
          </p:cNvPr>
          <p:cNvSpPr/>
          <p:nvPr/>
        </p:nvSpPr>
        <p:spPr>
          <a:xfrm>
            <a:off x="1734577" y="10138694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Transformatio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4096850-1EDB-442A-A47A-2A224876BEF0}"/>
              </a:ext>
            </a:extLst>
          </p:cNvPr>
          <p:cNvSpPr/>
          <p:nvPr/>
        </p:nvSpPr>
        <p:spPr>
          <a:xfrm>
            <a:off x="9513004" y="10108887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CMD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455F729-BD41-4C43-B52D-B52D41D8CBC8}"/>
              </a:ext>
            </a:extLst>
          </p:cNvPr>
          <p:cNvSpPr/>
          <p:nvPr/>
        </p:nvSpPr>
        <p:spPr>
          <a:xfrm>
            <a:off x="12679633" y="10115338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OP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CF9E8C6-B852-404B-A0EB-13EBB0ADD499}"/>
              </a:ext>
            </a:extLst>
          </p:cNvPr>
          <p:cNvSpPr/>
          <p:nvPr/>
        </p:nvSpPr>
        <p:spPr>
          <a:xfrm>
            <a:off x="15846262" y="10121789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EPD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421D816-08B4-46D9-8CB4-993D1C61DD8D}"/>
              </a:ext>
            </a:extLst>
          </p:cNvPr>
          <p:cNvSpPr/>
          <p:nvPr/>
        </p:nvSpPr>
        <p:spPr>
          <a:xfrm>
            <a:off x="19012891" y="10141763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QAD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A02306D7-783D-4AE5-B6F9-9033EB39DD32}"/>
              </a:ext>
            </a:extLst>
          </p:cNvPr>
          <p:cNvSpPr/>
          <p:nvPr/>
        </p:nvSpPr>
        <p:spPr>
          <a:xfrm>
            <a:off x="5241191" y="9910238"/>
            <a:ext cx="20607215" cy="3292822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7120A09E-864B-4890-B2D4-604AF21D22A9}"/>
              </a:ext>
            </a:extLst>
          </p:cNvPr>
          <p:cNvCxnSpPr>
            <a:cxnSpLocks/>
            <a:stCxn id="75" idx="0"/>
            <a:endCxn id="58" idx="2"/>
          </p:cNvCxnSpPr>
          <p:nvPr/>
        </p:nvCxnSpPr>
        <p:spPr>
          <a:xfrm rot="5400000" flipH="1" flipV="1">
            <a:off x="15263582" y="9629021"/>
            <a:ext cx="562435" cy="1"/>
          </a:xfrm>
          <a:prstGeom prst="bentConnector3">
            <a:avLst/>
          </a:prstGeom>
          <a:ln w="444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7798B8BF-A418-4020-90BD-C7FFE8D0C1AB}"/>
              </a:ext>
            </a:extLst>
          </p:cNvPr>
          <p:cNvSpPr/>
          <p:nvPr/>
        </p:nvSpPr>
        <p:spPr>
          <a:xfrm>
            <a:off x="22179520" y="7773928"/>
            <a:ext cx="2636875" cy="12121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Suppliers and Vendors</a:t>
            </a: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DE8E580C-2110-448C-9D07-37BACF2EF1CB}"/>
              </a:ext>
            </a:extLst>
          </p:cNvPr>
          <p:cNvCxnSpPr>
            <a:cxnSpLocks/>
            <a:endCxn id="44" idx="0"/>
          </p:cNvCxnSpPr>
          <p:nvPr/>
        </p:nvCxnSpPr>
        <p:spPr>
          <a:xfrm rot="16200000" flipH="1">
            <a:off x="18856877" y="3132846"/>
            <a:ext cx="1350077" cy="7932086"/>
          </a:xfrm>
          <a:prstGeom prst="bentConnector3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72E77AC8-5BB7-4BB8-BDDF-50EA2365F7DE}"/>
              </a:ext>
            </a:extLst>
          </p:cNvPr>
          <p:cNvCxnSpPr>
            <a:cxnSpLocks/>
            <a:endCxn id="24" idx="0"/>
          </p:cNvCxnSpPr>
          <p:nvPr/>
        </p:nvCxnSpPr>
        <p:spPr>
          <a:xfrm rot="16200000" flipH="1">
            <a:off x="17163146" y="4826577"/>
            <a:ext cx="1364782" cy="455933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B79F954E-8A4C-4925-994A-88B49369CB46}"/>
              </a:ext>
            </a:extLst>
          </p:cNvPr>
          <p:cNvSpPr/>
          <p:nvPr/>
        </p:nvSpPr>
        <p:spPr>
          <a:xfrm>
            <a:off x="1755900" y="11606550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DD9301F-92C3-4DB5-837E-F8CA19EA855F}"/>
              </a:ext>
            </a:extLst>
          </p:cNvPr>
          <p:cNvSpPr/>
          <p:nvPr/>
        </p:nvSpPr>
        <p:spPr>
          <a:xfrm>
            <a:off x="22179520" y="10135313"/>
            <a:ext cx="2636875" cy="12121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EA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C6A042B3-997F-430C-B07C-37507DF13BC4}"/>
              </a:ext>
            </a:extLst>
          </p:cNvPr>
          <p:cNvSpPr/>
          <p:nvPr/>
        </p:nvSpPr>
        <p:spPr>
          <a:xfrm>
            <a:off x="6346375" y="11610075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1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0031B9F-04E6-412D-AC47-431EF0D7E805}"/>
              </a:ext>
            </a:extLst>
          </p:cNvPr>
          <p:cNvSpPr/>
          <p:nvPr/>
        </p:nvSpPr>
        <p:spPr>
          <a:xfrm>
            <a:off x="9513004" y="11610076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2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EF474D5-98F1-40E7-8AD3-AB9FA9EB9C8D}"/>
              </a:ext>
            </a:extLst>
          </p:cNvPr>
          <p:cNvSpPr/>
          <p:nvPr/>
        </p:nvSpPr>
        <p:spPr>
          <a:xfrm>
            <a:off x="12679633" y="11616527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3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5DF949A-80CD-4226-A2F0-F175E74EB74B}"/>
              </a:ext>
            </a:extLst>
          </p:cNvPr>
          <p:cNvSpPr/>
          <p:nvPr/>
        </p:nvSpPr>
        <p:spPr>
          <a:xfrm>
            <a:off x="15846262" y="11622978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4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D1EDAA3-DA81-418F-A667-9C1C31C4FBDC}"/>
              </a:ext>
            </a:extLst>
          </p:cNvPr>
          <p:cNvSpPr/>
          <p:nvPr/>
        </p:nvSpPr>
        <p:spPr>
          <a:xfrm>
            <a:off x="19012891" y="11642952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5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60B1A4D-F503-4836-9CEC-13AF37C8FF5C}"/>
              </a:ext>
            </a:extLst>
          </p:cNvPr>
          <p:cNvSpPr/>
          <p:nvPr/>
        </p:nvSpPr>
        <p:spPr>
          <a:xfrm>
            <a:off x="22179520" y="11636502"/>
            <a:ext cx="2636875" cy="12121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Initiative </a:t>
            </a:r>
            <a:r>
              <a:rPr lang="en-US" sz="2400" i="1">
                <a:latin typeface="Segoe UI" panose="020B0502040204020203" pitchFamily="34" charset="0"/>
                <a:cs typeface="Segoe UI" panose="020B0502040204020203" pitchFamily="34" charset="0"/>
              </a:rPr>
              <a:t>n</a:t>
            </a:r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99A68A7-F6BE-4A97-B1C4-254D283B13AA}"/>
              </a:ext>
            </a:extLst>
          </p:cNvPr>
          <p:cNvSpPr/>
          <p:nvPr/>
        </p:nvSpPr>
        <p:spPr>
          <a:xfrm>
            <a:off x="14226360" y="4462665"/>
            <a:ext cx="2636875" cy="12121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Program Directo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4B29B41-50C0-AF73-11AB-F13D456A58B9}"/>
              </a:ext>
            </a:extLst>
          </p:cNvPr>
          <p:cNvSpPr/>
          <p:nvPr/>
        </p:nvSpPr>
        <p:spPr>
          <a:xfrm>
            <a:off x="27323152" y="11285745"/>
            <a:ext cx="2948940" cy="1853719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latin typeface="Segoe UI" panose="020B0502040204020203" pitchFamily="34" charset="0"/>
                <a:cs typeface="Segoe UI" panose="020B0502040204020203" pitchFamily="34" charset="0"/>
              </a:rPr>
              <a:t>Note: </a:t>
            </a:r>
            <a:r>
              <a:rPr lang="en-US" sz="2800" i="1">
                <a:latin typeface="Segoe UI" panose="020B0502040204020203" pitchFamily="34" charset="0"/>
                <a:cs typeface="Segoe UI" panose="020B0502040204020203" pitchFamily="34" charset="0"/>
              </a:rPr>
              <a:t>Terms of reference exist for each are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FBDE06-3791-46C6-965C-B2C9B2EEFE63}"/>
              </a:ext>
            </a:extLst>
          </p:cNvPr>
          <p:cNvSpPr/>
          <p:nvPr/>
        </p:nvSpPr>
        <p:spPr>
          <a:xfrm>
            <a:off x="19012890" y="4461145"/>
            <a:ext cx="2636875" cy="12121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Communications Manage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90617F5-ADC8-03CE-0AF4-B47C4C4DCCB4}"/>
              </a:ext>
            </a:extLst>
          </p:cNvPr>
          <p:cNvCxnSpPr>
            <a:cxnSpLocks/>
            <a:stCxn id="3" idx="1"/>
            <a:endCxn id="55" idx="3"/>
          </p:cNvCxnSpPr>
          <p:nvPr/>
        </p:nvCxnSpPr>
        <p:spPr>
          <a:xfrm flipH="1">
            <a:off x="16863235" y="5067201"/>
            <a:ext cx="2149655" cy="152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742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810181" cy="1447442"/>
          </a:xfrm>
        </p:spPr>
        <p:txBody>
          <a:bodyPr/>
          <a:lstStyle/>
          <a:p>
            <a:r>
              <a:rPr lang="en-US"/>
              <a:t>Digitalization Bluepri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6AEFB8-1FB0-4432-B078-2749E9A40CF8}"/>
              </a:ext>
            </a:extLst>
          </p:cNvPr>
          <p:cNvSpPr/>
          <p:nvPr/>
        </p:nvSpPr>
        <p:spPr>
          <a:xfrm>
            <a:off x="2695613" y="5171021"/>
            <a:ext cx="3761102" cy="110526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Service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249787-C97F-4EAA-80B0-527751B123F6}"/>
              </a:ext>
            </a:extLst>
          </p:cNvPr>
          <p:cNvSpPr/>
          <p:nvPr/>
        </p:nvSpPr>
        <p:spPr>
          <a:xfrm>
            <a:off x="2695613" y="6588643"/>
            <a:ext cx="3761102" cy="110526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People &amp; Skill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1D3F0E-8194-40CD-882F-B53312633165}"/>
              </a:ext>
            </a:extLst>
          </p:cNvPr>
          <p:cNvSpPr/>
          <p:nvPr/>
        </p:nvSpPr>
        <p:spPr>
          <a:xfrm>
            <a:off x="2695613" y="8025441"/>
            <a:ext cx="3761102" cy="110526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Procedur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873262-D9D2-46C1-8312-631FE1248435}"/>
              </a:ext>
            </a:extLst>
          </p:cNvPr>
          <p:cNvSpPr/>
          <p:nvPr/>
        </p:nvSpPr>
        <p:spPr>
          <a:xfrm>
            <a:off x="2695613" y="9449042"/>
            <a:ext cx="3761102" cy="110526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8A13B8-93C4-409A-99B5-04A788A2AE97}"/>
              </a:ext>
            </a:extLst>
          </p:cNvPr>
          <p:cNvSpPr/>
          <p:nvPr/>
        </p:nvSpPr>
        <p:spPr>
          <a:xfrm>
            <a:off x="2695613" y="10866664"/>
            <a:ext cx="3761102" cy="1105260"/>
          </a:xfrm>
          <a:prstGeom prst="rect">
            <a:avLst/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5D144D-CFB1-41CE-81A9-AA3077F45ABE}"/>
              </a:ext>
            </a:extLst>
          </p:cNvPr>
          <p:cNvSpPr/>
          <p:nvPr/>
        </p:nvSpPr>
        <p:spPr>
          <a:xfrm>
            <a:off x="1422352" y="5177620"/>
            <a:ext cx="1034448" cy="68009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Digital Bluepri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6D5E3B1-385A-4C4F-96A7-7AA81EE25505}"/>
              </a:ext>
            </a:extLst>
          </p:cNvPr>
          <p:cNvSpPr/>
          <p:nvPr/>
        </p:nvSpPr>
        <p:spPr>
          <a:xfrm>
            <a:off x="6695528" y="5171021"/>
            <a:ext cx="13902488" cy="11052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New products, business models, organizational design and ways of working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6282D9E-7E38-4EB6-A725-7A0844CE9745}"/>
              </a:ext>
            </a:extLst>
          </p:cNvPr>
          <p:cNvSpPr/>
          <p:nvPr/>
        </p:nvSpPr>
        <p:spPr>
          <a:xfrm>
            <a:off x="6695528" y="6588643"/>
            <a:ext cx="13902488" cy="11052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Enhanced skills and developing our people to be digitally enabled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B88A2F1-F3EB-4D3A-8681-5B373D7E3A0F}"/>
              </a:ext>
            </a:extLst>
          </p:cNvPr>
          <p:cNvSpPr/>
          <p:nvPr/>
        </p:nvSpPr>
        <p:spPr>
          <a:xfrm>
            <a:off x="6695528" y="8025441"/>
            <a:ext cx="13902488" cy="11052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World class procedures for consistency, accuracy and automatio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7C7884-40FC-43DE-B850-2BE5DD1F03CF}"/>
              </a:ext>
            </a:extLst>
          </p:cNvPr>
          <p:cNvSpPr/>
          <p:nvPr/>
        </p:nvSpPr>
        <p:spPr>
          <a:xfrm>
            <a:off x="6695528" y="9449042"/>
            <a:ext cx="13902488" cy="11052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21</a:t>
            </a:r>
            <a:r>
              <a:rPr lang="en-US" sz="3200" baseline="30000">
                <a:latin typeface="Segoe UI" panose="020B0502040204020203" pitchFamily="34" charset="0"/>
                <a:cs typeface="Segoe UI" panose="020B0502040204020203" pitchFamily="34" charset="0"/>
              </a:rPr>
              <a:t>st</a:t>
            </a:r>
            <a:r>
              <a:rPr lang="en-US" sz="3200">
                <a:latin typeface="Segoe UI" panose="020B0502040204020203" pitchFamily="34" charset="0"/>
                <a:cs typeface="Segoe UI" panose="020B0502040204020203" pitchFamily="34" charset="0"/>
              </a:rPr>
              <a:t> Century Technology and integrated cloud-based solutions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1242359-3C3E-49E2-9637-003D0282D261}"/>
              </a:ext>
            </a:extLst>
          </p:cNvPr>
          <p:cNvSpPr/>
          <p:nvPr/>
        </p:nvSpPr>
        <p:spPr>
          <a:xfrm>
            <a:off x="6695528" y="10866664"/>
            <a:ext cx="13902488" cy="11052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3200">
                <a:latin typeface="Segoe UI"/>
                <a:cs typeface="Segoe UI"/>
              </a:rPr>
              <a:t>The right data, in the right format, at the right time and place.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5F056794-354E-49FF-BFC6-58221F2DF07C}"/>
              </a:ext>
            </a:extLst>
          </p:cNvPr>
          <p:cNvSpPr/>
          <p:nvPr/>
        </p:nvSpPr>
        <p:spPr>
          <a:xfrm>
            <a:off x="19776558" y="4057679"/>
            <a:ext cx="4617514" cy="9060089"/>
          </a:xfrm>
          <a:prstGeom prst="rightBrace">
            <a:avLst>
              <a:gd name="adj1" fmla="val 8333"/>
              <a:gd name="adj2" fmla="val 49791"/>
            </a:avLst>
          </a:prstGeom>
          <a:ln w="793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1CCE4-D4AC-8348-5B4C-BD91D51A0047}"/>
              </a:ext>
            </a:extLst>
          </p:cNvPr>
          <p:cNvSpPr/>
          <p:nvPr/>
        </p:nvSpPr>
        <p:spPr>
          <a:xfrm>
            <a:off x="7147655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Engineering and Architectural Design Divis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ABDE00-C47D-55C6-B7EA-C7C7F55E637A}"/>
              </a:ext>
            </a:extLst>
          </p:cNvPr>
          <p:cNvSpPr/>
          <p:nvPr/>
        </p:nvSpPr>
        <p:spPr>
          <a:xfrm>
            <a:off x="9363380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 Construction Management Divis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617A14-5C6B-71CE-00FE-6162CDAB514D}"/>
              </a:ext>
            </a:extLst>
          </p:cNvPr>
          <p:cNvSpPr/>
          <p:nvPr/>
        </p:nvSpPr>
        <p:spPr>
          <a:xfrm>
            <a:off x="11579105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Engineering Operations    Divi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6B1EC1-79D9-D7AC-84DD-485113750AE5}"/>
              </a:ext>
            </a:extLst>
          </p:cNvPr>
          <p:cNvSpPr/>
          <p:nvPr/>
        </p:nvSpPr>
        <p:spPr>
          <a:xfrm>
            <a:off x="13794830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Project Delivery Divis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F42FFF-2B3A-47D8-5E42-875C6EBE6AAA}"/>
              </a:ext>
            </a:extLst>
          </p:cNvPr>
          <p:cNvSpPr/>
          <p:nvPr/>
        </p:nvSpPr>
        <p:spPr>
          <a:xfrm>
            <a:off x="16010555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Quality Assurance Div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B1BBE9-387D-7393-236D-D66361740394}"/>
              </a:ext>
            </a:extLst>
          </p:cNvPr>
          <p:cNvSpPr/>
          <p:nvPr/>
        </p:nvSpPr>
        <p:spPr>
          <a:xfrm>
            <a:off x="18226281" y="4365533"/>
            <a:ext cx="1895302" cy="840790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4400">
                <a:latin typeface="Segoe UI" panose="020B0502040204020203" pitchFamily="34" charset="0"/>
                <a:cs typeface="Segoe UI" panose="020B0502040204020203" pitchFamily="34" charset="0"/>
              </a:rPr>
              <a:t>Enterprise Asset Management Divis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C3B530-CCEA-B2CB-9E83-DAA4E17D24D8}"/>
              </a:ext>
            </a:extLst>
          </p:cNvPr>
          <p:cNvSpPr/>
          <p:nvPr/>
        </p:nvSpPr>
        <p:spPr>
          <a:xfrm>
            <a:off x="25312597" y="6884580"/>
            <a:ext cx="3761102" cy="3982083"/>
          </a:xfrm>
          <a:prstGeom prst="rect">
            <a:avLst/>
          </a:prstGeom>
          <a:solidFill>
            <a:srgbClr val="022DB7"/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3200" dirty="0">
                <a:latin typeface="Segoe UI" panose="020B0502040204020203" pitchFamily="34" charset="0"/>
                <a:cs typeface="Segoe UI" panose="020B0502040204020203" pitchFamily="34" charset="0"/>
              </a:rPr>
              <a:t>Revised Operating Model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C2A3F6C-8211-1280-FB07-8B56222B0E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47485" y="9130701"/>
            <a:ext cx="2791973" cy="118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506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2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accel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accel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accel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accel="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 136">
            <a:extLst>
              <a:ext uri="{FF2B5EF4-FFF2-40B4-BE49-F238E27FC236}">
                <a16:creationId xmlns:a16="http://schemas.microsoft.com/office/drawing/2014/main" id="{C3C22F24-9E7F-5AA5-8838-2088E9D916C0}"/>
              </a:ext>
            </a:extLst>
          </p:cNvPr>
          <p:cNvSpPr/>
          <p:nvPr/>
        </p:nvSpPr>
        <p:spPr>
          <a:xfrm>
            <a:off x="17998437" y="10651552"/>
            <a:ext cx="637504" cy="502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DF8EADB-D525-4481-4A88-0B87C0668AC1}"/>
              </a:ext>
            </a:extLst>
          </p:cNvPr>
          <p:cNvGrpSpPr/>
          <p:nvPr/>
        </p:nvGrpSpPr>
        <p:grpSpPr>
          <a:xfrm>
            <a:off x="4119756" y="3740551"/>
            <a:ext cx="14297212" cy="7387732"/>
            <a:chOff x="4119756" y="3740551"/>
            <a:chExt cx="14297212" cy="7387732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D972321-0B02-945B-ECF9-D458760E66A0}"/>
                </a:ext>
              </a:extLst>
            </p:cNvPr>
            <p:cNvSpPr/>
            <p:nvPr/>
          </p:nvSpPr>
          <p:spPr>
            <a:xfrm>
              <a:off x="4119756" y="3740551"/>
              <a:ext cx="14297212" cy="7387732"/>
            </a:xfrm>
            <a:custGeom>
              <a:avLst/>
              <a:gdLst>
                <a:gd name="connsiteX0" fmla="*/ 0 w 8515205"/>
                <a:gd name="connsiteY0" fmla="*/ 0 h 4533348"/>
                <a:gd name="connsiteX1" fmla="*/ 6596885 w 8515205"/>
                <a:gd name="connsiteY1" fmla="*/ 0 h 4533348"/>
                <a:gd name="connsiteX2" fmla="*/ 6596886 w 8515205"/>
                <a:gd name="connsiteY2" fmla="*/ 0 h 4533348"/>
                <a:gd name="connsiteX3" fmla="*/ 6610604 w 8515205"/>
                <a:gd name="connsiteY3" fmla="*/ 0 h 4533348"/>
                <a:gd name="connsiteX4" fmla="*/ 6610604 w 8515205"/>
                <a:gd name="connsiteY4" fmla="*/ 693 h 4533348"/>
                <a:gd name="connsiteX5" fmla="*/ 6719474 w 8515205"/>
                <a:gd name="connsiteY5" fmla="*/ 6190 h 4533348"/>
                <a:gd name="connsiteX6" fmla="*/ 7795869 w 8515205"/>
                <a:gd name="connsiteY6" fmla="*/ 1198984 h 4533348"/>
                <a:gd name="connsiteX7" fmla="*/ 6719474 w 8515205"/>
                <a:gd name="connsiteY7" fmla="*/ 2391778 h 4533348"/>
                <a:gd name="connsiteX8" fmla="*/ 6610603 w 8515205"/>
                <a:gd name="connsiteY8" fmla="*/ 2397275 h 4533348"/>
                <a:gd name="connsiteX9" fmla="*/ 6610603 w 8515205"/>
                <a:gd name="connsiteY9" fmla="*/ 2398726 h 4533348"/>
                <a:gd name="connsiteX10" fmla="*/ 1605528 w 8515205"/>
                <a:gd name="connsiteY10" fmla="*/ 2398726 h 4533348"/>
                <a:gd name="connsiteX11" fmla="*/ 1605528 w 8515205"/>
                <a:gd name="connsiteY11" fmla="*/ 2399037 h 4533348"/>
                <a:gd name="connsiteX12" fmla="*/ 670201 w 8515205"/>
                <a:gd name="connsiteY12" fmla="*/ 3334364 h 4533348"/>
                <a:gd name="connsiteX13" fmla="*/ 1509896 w 8515205"/>
                <a:gd name="connsiteY13" fmla="*/ 4264862 h 4533348"/>
                <a:gd name="connsiteX14" fmla="*/ 1603607 w 8515205"/>
                <a:gd name="connsiteY14" fmla="*/ 4269594 h 4533348"/>
                <a:gd name="connsiteX15" fmla="*/ 8515205 w 8515205"/>
                <a:gd name="connsiteY15" fmla="*/ 4269594 h 4533348"/>
                <a:gd name="connsiteX16" fmla="*/ 8515205 w 8515205"/>
                <a:gd name="connsiteY16" fmla="*/ 4533347 h 4533348"/>
                <a:gd name="connsiteX17" fmla="*/ 1605528 w 8515205"/>
                <a:gd name="connsiteY17" fmla="*/ 4533347 h 4533348"/>
                <a:gd name="connsiteX18" fmla="*/ 1605528 w 8515205"/>
                <a:gd name="connsiteY18" fmla="*/ 4533348 h 4533348"/>
                <a:gd name="connsiteX19" fmla="*/ 1605510 w 8515205"/>
                <a:gd name="connsiteY19" fmla="*/ 4533347 h 4533348"/>
                <a:gd name="connsiteX20" fmla="*/ 1600200 w 8515205"/>
                <a:gd name="connsiteY20" fmla="*/ 4533347 h 4533348"/>
                <a:gd name="connsiteX21" fmla="*/ 1600200 w 8515205"/>
                <a:gd name="connsiteY21" fmla="*/ 4533079 h 4533348"/>
                <a:gd name="connsiteX22" fmla="*/ 1482939 w 8515205"/>
                <a:gd name="connsiteY22" fmla="*/ 4527158 h 4533348"/>
                <a:gd name="connsiteX23" fmla="*/ 406544 w 8515205"/>
                <a:gd name="connsiteY23" fmla="*/ 3334364 h 4533348"/>
                <a:gd name="connsiteX24" fmla="*/ 1482939 w 8515205"/>
                <a:gd name="connsiteY24" fmla="*/ 2141570 h 4533348"/>
                <a:gd name="connsiteX25" fmla="*/ 1600199 w 8515205"/>
                <a:gd name="connsiteY25" fmla="*/ 2135649 h 4533348"/>
                <a:gd name="connsiteX26" fmla="*/ 1600199 w 8515205"/>
                <a:gd name="connsiteY26" fmla="*/ 2135380 h 4533348"/>
                <a:gd name="connsiteX27" fmla="*/ 1605528 w 8515205"/>
                <a:gd name="connsiteY27" fmla="*/ 2135380 h 4533348"/>
                <a:gd name="connsiteX28" fmla="*/ 6596885 w 8515205"/>
                <a:gd name="connsiteY28" fmla="*/ 2135380 h 4533348"/>
                <a:gd name="connsiteX29" fmla="*/ 6596885 w 8515205"/>
                <a:gd name="connsiteY29" fmla="*/ 2134311 h 4533348"/>
                <a:gd name="connsiteX30" fmla="*/ 7532212 w 8515205"/>
                <a:gd name="connsiteY30" fmla="*/ 1198984 h 4533348"/>
                <a:gd name="connsiteX31" fmla="*/ 6596885 w 8515205"/>
                <a:gd name="connsiteY31" fmla="*/ 263657 h 4533348"/>
                <a:gd name="connsiteX32" fmla="*/ 6596885 w 8515205"/>
                <a:gd name="connsiteY32" fmla="*/ 263346 h 4533348"/>
                <a:gd name="connsiteX33" fmla="*/ 0 w 8515205"/>
                <a:gd name="connsiteY33" fmla="*/ 263346 h 4533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515205" h="4533348">
                  <a:moveTo>
                    <a:pt x="0" y="0"/>
                  </a:moveTo>
                  <a:lnTo>
                    <a:pt x="6596885" y="0"/>
                  </a:lnTo>
                  <a:lnTo>
                    <a:pt x="6596886" y="0"/>
                  </a:lnTo>
                  <a:lnTo>
                    <a:pt x="6610604" y="0"/>
                  </a:lnTo>
                  <a:lnTo>
                    <a:pt x="6610604" y="693"/>
                  </a:lnTo>
                  <a:lnTo>
                    <a:pt x="6719474" y="6190"/>
                  </a:lnTo>
                  <a:cubicBezTo>
                    <a:pt x="7324070" y="67590"/>
                    <a:pt x="7795869" y="578189"/>
                    <a:pt x="7795869" y="1198984"/>
                  </a:cubicBezTo>
                  <a:cubicBezTo>
                    <a:pt x="7795869" y="1819779"/>
                    <a:pt x="7324070" y="2330378"/>
                    <a:pt x="6719474" y="2391778"/>
                  </a:cubicBezTo>
                  <a:lnTo>
                    <a:pt x="6610603" y="2397275"/>
                  </a:lnTo>
                  <a:lnTo>
                    <a:pt x="6610603" y="2398726"/>
                  </a:lnTo>
                  <a:lnTo>
                    <a:pt x="1605528" y="2398726"/>
                  </a:lnTo>
                  <a:lnTo>
                    <a:pt x="1605528" y="2399037"/>
                  </a:lnTo>
                  <a:cubicBezTo>
                    <a:pt x="1088961" y="2399037"/>
                    <a:pt x="670201" y="2817797"/>
                    <a:pt x="670201" y="3334364"/>
                  </a:cubicBezTo>
                  <a:cubicBezTo>
                    <a:pt x="670201" y="3818645"/>
                    <a:pt x="1038252" y="4216964"/>
                    <a:pt x="1509896" y="4264862"/>
                  </a:cubicBezTo>
                  <a:lnTo>
                    <a:pt x="1603607" y="4269594"/>
                  </a:lnTo>
                  <a:lnTo>
                    <a:pt x="8515205" y="4269594"/>
                  </a:lnTo>
                  <a:lnTo>
                    <a:pt x="8515205" y="4533347"/>
                  </a:lnTo>
                  <a:lnTo>
                    <a:pt x="1605528" y="4533347"/>
                  </a:lnTo>
                  <a:lnTo>
                    <a:pt x="1605528" y="4533348"/>
                  </a:lnTo>
                  <a:lnTo>
                    <a:pt x="1605510" y="4533347"/>
                  </a:lnTo>
                  <a:lnTo>
                    <a:pt x="1600200" y="4533347"/>
                  </a:lnTo>
                  <a:lnTo>
                    <a:pt x="1600200" y="4533079"/>
                  </a:lnTo>
                  <a:lnTo>
                    <a:pt x="1482939" y="4527158"/>
                  </a:lnTo>
                  <a:cubicBezTo>
                    <a:pt x="878343" y="4465758"/>
                    <a:pt x="406544" y="3955158"/>
                    <a:pt x="406544" y="3334364"/>
                  </a:cubicBezTo>
                  <a:cubicBezTo>
                    <a:pt x="406544" y="2713569"/>
                    <a:pt x="878343" y="2202970"/>
                    <a:pt x="1482939" y="2141570"/>
                  </a:cubicBezTo>
                  <a:lnTo>
                    <a:pt x="1600199" y="2135649"/>
                  </a:lnTo>
                  <a:lnTo>
                    <a:pt x="1600199" y="2135380"/>
                  </a:lnTo>
                  <a:lnTo>
                    <a:pt x="1605528" y="2135380"/>
                  </a:lnTo>
                  <a:lnTo>
                    <a:pt x="6596885" y="2135380"/>
                  </a:lnTo>
                  <a:lnTo>
                    <a:pt x="6596885" y="2134311"/>
                  </a:lnTo>
                  <a:cubicBezTo>
                    <a:pt x="7113452" y="2134311"/>
                    <a:pt x="7532212" y="1715551"/>
                    <a:pt x="7532212" y="1198984"/>
                  </a:cubicBezTo>
                  <a:cubicBezTo>
                    <a:pt x="7532212" y="682417"/>
                    <a:pt x="7113452" y="263657"/>
                    <a:pt x="6596885" y="263657"/>
                  </a:cubicBezTo>
                  <a:lnTo>
                    <a:pt x="6596885" y="263346"/>
                  </a:lnTo>
                  <a:lnTo>
                    <a:pt x="0" y="263346"/>
                  </a:lnTo>
                  <a:close/>
                </a:path>
              </a:pathLst>
            </a:cu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0">
                  <a:schemeClr val="accent1">
                    <a:lumMod val="45000"/>
                    <a:lumOff val="55000"/>
                  </a:schemeClr>
                </a:gs>
                <a:gs pos="54000">
                  <a:schemeClr val="accent1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sp>
          <p:nvSpPr>
            <p:cNvPr id="132" name="Arrow: Pentagon 131">
              <a:extLst>
                <a:ext uri="{FF2B5EF4-FFF2-40B4-BE49-F238E27FC236}">
                  <a16:creationId xmlns:a16="http://schemas.microsoft.com/office/drawing/2014/main" id="{D97CCD5A-14D0-30D1-7DBA-4A355FA163AB}"/>
                </a:ext>
              </a:extLst>
            </p:cNvPr>
            <p:cNvSpPr/>
            <p:nvPr/>
          </p:nvSpPr>
          <p:spPr>
            <a:xfrm>
              <a:off x="17734311" y="10697696"/>
              <a:ext cx="475204" cy="430587"/>
            </a:xfrm>
            <a:prstGeom prst="homePlate">
              <a:avLst/>
            </a:prstGeom>
            <a:solidFill>
              <a:srgbClr val="4456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482D3ACB-0339-E7B6-43E0-96E8C03067DA}"/>
              </a:ext>
            </a:extLst>
          </p:cNvPr>
          <p:cNvGrpSpPr/>
          <p:nvPr/>
        </p:nvGrpSpPr>
        <p:grpSpPr>
          <a:xfrm>
            <a:off x="17998440" y="10697798"/>
            <a:ext cx="10735584" cy="436142"/>
            <a:chOff x="17998440" y="10697798"/>
            <a:chExt cx="10735584" cy="436142"/>
          </a:xfrm>
        </p:grpSpPr>
        <p:sp>
          <p:nvSpPr>
            <p:cNvPr id="86" name="Arrow: Pentagon 85">
              <a:extLst>
                <a:ext uri="{FF2B5EF4-FFF2-40B4-BE49-F238E27FC236}">
                  <a16:creationId xmlns:a16="http://schemas.microsoft.com/office/drawing/2014/main" id="{88DFE996-8F26-FB15-C8A5-DBEFA0314926}"/>
                </a:ext>
              </a:extLst>
            </p:cNvPr>
            <p:cNvSpPr/>
            <p:nvPr/>
          </p:nvSpPr>
          <p:spPr>
            <a:xfrm>
              <a:off x="17998440" y="10697798"/>
              <a:ext cx="10735584" cy="430587"/>
            </a:xfrm>
            <a:prstGeom prst="homePlate">
              <a:avLst/>
            </a:prstGeom>
            <a:gradFill flip="none" rotWithShape="1">
              <a:gsLst>
                <a:gs pos="0">
                  <a:schemeClr val="accent2">
                    <a:lumMod val="50000"/>
                    <a:tint val="66000"/>
                    <a:satMod val="160000"/>
                  </a:schemeClr>
                </a:gs>
                <a:gs pos="50000">
                  <a:schemeClr val="accent2">
                    <a:lumMod val="50000"/>
                    <a:tint val="44500"/>
                    <a:satMod val="160000"/>
                  </a:schemeClr>
                </a:gs>
                <a:gs pos="100000">
                  <a:schemeClr val="accent2">
                    <a:lumMod val="50000"/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CCAF4EC8-28BD-4A93-60E5-577A7ECA32E6}"/>
                </a:ext>
              </a:extLst>
            </p:cNvPr>
            <p:cNvSpPr/>
            <p:nvPr/>
          </p:nvSpPr>
          <p:spPr>
            <a:xfrm>
              <a:off x="22377141" y="10701678"/>
              <a:ext cx="204846" cy="4322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B500D16-6D3B-D7BA-C878-54642B739D99}"/>
                </a:ext>
              </a:extLst>
            </p:cNvPr>
            <p:cNvSpPr/>
            <p:nvPr/>
          </p:nvSpPr>
          <p:spPr>
            <a:xfrm>
              <a:off x="22581990" y="10701678"/>
              <a:ext cx="204846" cy="432262"/>
            </a:xfrm>
            <a:prstGeom prst="rect">
              <a:avLst/>
            </a:prstGeom>
            <a:solidFill>
              <a:srgbClr val="DDC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6A82687B-C438-12A8-D6B6-0166389CED4C}"/>
                </a:ext>
              </a:extLst>
            </p:cNvPr>
            <p:cNvSpPr/>
            <p:nvPr/>
          </p:nvSpPr>
          <p:spPr>
            <a:xfrm>
              <a:off x="22786835" y="10701678"/>
              <a:ext cx="204846" cy="4322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02F3B4B-6324-1492-9728-0F12BB02C79F}"/>
                </a:ext>
              </a:extLst>
            </p:cNvPr>
            <p:cNvSpPr/>
            <p:nvPr/>
          </p:nvSpPr>
          <p:spPr>
            <a:xfrm>
              <a:off x="22991681" y="10701678"/>
              <a:ext cx="204846" cy="432262"/>
            </a:xfrm>
            <a:prstGeom prst="rect">
              <a:avLst/>
            </a:prstGeom>
            <a:solidFill>
              <a:srgbClr val="DDC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6B465E4-241B-14A4-B7B6-AE8FFD21E657}"/>
                </a:ext>
              </a:extLst>
            </p:cNvPr>
            <p:cNvSpPr/>
            <p:nvPr/>
          </p:nvSpPr>
          <p:spPr>
            <a:xfrm>
              <a:off x="23196530" y="10701678"/>
              <a:ext cx="204846" cy="4322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EC5B61A7-DE31-76A7-720C-F852A8980CDB}"/>
                </a:ext>
              </a:extLst>
            </p:cNvPr>
            <p:cNvSpPr/>
            <p:nvPr/>
          </p:nvSpPr>
          <p:spPr>
            <a:xfrm>
              <a:off x="23395612" y="10701678"/>
              <a:ext cx="204846" cy="432262"/>
            </a:xfrm>
            <a:prstGeom prst="rect">
              <a:avLst/>
            </a:prstGeom>
            <a:solidFill>
              <a:srgbClr val="DDC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47AE4C02-8610-30F5-D935-1D7F67F47C3C}"/>
                </a:ext>
              </a:extLst>
            </p:cNvPr>
            <p:cNvSpPr/>
            <p:nvPr/>
          </p:nvSpPr>
          <p:spPr>
            <a:xfrm>
              <a:off x="23600460" y="10701678"/>
              <a:ext cx="204846" cy="4322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E7B4B6A-6927-D9FA-6E33-50B46C03A024}"/>
                </a:ext>
              </a:extLst>
            </p:cNvPr>
            <p:cNvSpPr/>
            <p:nvPr/>
          </p:nvSpPr>
          <p:spPr>
            <a:xfrm>
              <a:off x="23799542" y="10701678"/>
              <a:ext cx="204846" cy="432262"/>
            </a:xfrm>
            <a:prstGeom prst="rect">
              <a:avLst/>
            </a:prstGeom>
            <a:solidFill>
              <a:srgbClr val="DDCD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73BA922D-2A39-F2C9-25E0-E937E6A43493}"/>
                </a:ext>
              </a:extLst>
            </p:cNvPr>
            <p:cNvSpPr/>
            <p:nvPr/>
          </p:nvSpPr>
          <p:spPr>
            <a:xfrm>
              <a:off x="24004390" y="10701678"/>
              <a:ext cx="204846" cy="4322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61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810181" cy="1447442"/>
          </a:xfrm>
        </p:spPr>
        <p:txBody>
          <a:bodyPr/>
          <a:lstStyle/>
          <a:p>
            <a:r>
              <a:rPr lang="en-US"/>
              <a:t>Our Methodology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79FFD33E-571E-8A83-63F8-1C8CFA7507A1}"/>
              </a:ext>
            </a:extLst>
          </p:cNvPr>
          <p:cNvGrpSpPr/>
          <p:nvPr/>
        </p:nvGrpSpPr>
        <p:grpSpPr>
          <a:xfrm>
            <a:off x="2821123" y="3149377"/>
            <a:ext cx="1612955" cy="1613748"/>
            <a:chOff x="1063364" y="1223730"/>
            <a:chExt cx="990248" cy="990248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D65D6153-6531-45B1-885A-780D666046A2}"/>
                </a:ext>
              </a:extLst>
            </p:cNvPr>
            <p:cNvSpPr/>
            <p:nvPr/>
          </p:nvSpPr>
          <p:spPr>
            <a:xfrm>
              <a:off x="1063364" y="1223730"/>
              <a:ext cx="990248" cy="9902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473134EF-0499-9BE8-B26A-CD56F02330D3}"/>
                </a:ext>
              </a:extLst>
            </p:cNvPr>
            <p:cNvSpPr/>
            <p:nvPr/>
          </p:nvSpPr>
          <p:spPr>
            <a:xfrm>
              <a:off x="1131935" y="1292301"/>
              <a:ext cx="853106" cy="85310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IN" sz="3166">
                  <a:cs typeface="Segoe UI" panose="020B0502040204020203" pitchFamily="34" charset="0"/>
                </a:rPr>
                <a:t>START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9EAC38C-8511-0A8B-BDD7-D1A15D072AD4}"/>
              </a:ext>
            </a:extLst>
          </p:cNvPr>
          <p:cNvGrpSpPr/>
          <p:nvPr/>
        </p:nvGrpSpPr>
        <p:grpSpPr>
          <a:xfrm>
            <a:off x="9987401" y="3108422"/>
            <a:ext cx="3602812" cy="3807547"/>
            <a:chOff x="11526795" y="2563266"/>
            <a:chExt cx="3793376" cy="4008941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5A6A923-BB10-7809-CAD4-F8E175859E0B}"/>
                </a:ext>
              </a:extLst>
            </p:cNvPr>
            <p:cNvSpPr txBox="1"/>
            <p:nvPr/>
          </p:nvSpPr>
          <p:spPr>
            <a:xfrm>
              <a:off x="11799062" y="4923573"/>
              <a:ext cx="3228326" cy="16486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35" kern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" panose="020B0502040204020203" pitchFamily="34" charset="0"/>
                </a:rPr>
                <a:t>Review and validate process, technology, data and capability to understand issues and needs.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BAECA6F-A3D3-E181-1B96-79863F8B1D26}"/>
                </a:ext>
              </a:extLst>
            </p:cNvPr>
            <p:cNvSpPr txBox="1"/>
            <p:nvPr/>
          </p:nvSpPr>
          <p:spPr>
            <a:xfrm>
              <a:off x="11526795" y="4442422"/>
              <a:ext cx="3793376" cy="4029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2487" b="1" ker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Discovery</a:t>
              </a: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5845EACE-F791-F0A9-F85F-1FDA8D2311F9}"/>
                </a:ext>
              </a:extLst>
            </p:cNvPr>
            <p:cNvSpPr/>
            <p:nvPr/>
          </p:nvSpPr>
          <p:spPr>
            <a:xfrm>
              <a:off x="12594077" y="2563266"/>
              <a:ext cx="1698270" cy="16991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grpSp>
          <p:nvGrpSpPr>
            <p:cNvPr id="118" name="Idea2">
              <a:extLst>
                <a:ext uri="{FF2B5EF4-FFF2-40B4-BE49-F238E27FC236}">
                  <a16:creationId xmlns:a16="http://schemas.microsoft.com/office/drawing/2014/main" id="{722752EE-46ED-B5E3-CDD3-DC89E81E5BC1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13009098" y="2947017"/>
              <a:ext cx="868244" cy="931569"/>
              <a:chOff x="2087986" y="1812758"/>
              <a:chExt cx="316995" cy="350423"/>
            </a:xfrm>
            <a:solidFill>
              <a:schemeClr val="accent1"/>
            </a:solidFill>
          </p:grpSpPr>
          <p:sp>
            <p:nvSpPr>
              <p:cNvPr id="119" name="Crowdsourcing2">
                <a:extLst>
                  <a:ext uri="{FF2B5EF4-FFF2-40B4-BE49-F238E27FC236}">
                    <a16:creationId xmlns:a16="http://schemas.microsoft.com/office/drawing/2014/main" id="{E88D092A-3E17-2101-708E-FD00336FE1D3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212479" y="2095171"/>
                <a:ext cx="68010" cy="23054"/>
              </a:xfrm>
              <a:custGeom>
                <a:avLst/>
                <a:gdLst>
                  <a:gd name="T0" fmla="*/ 130 w 156"/>
                  <a:gd name="T1" fmla="*/ 52 h 52"/>
                  <a:gd name="T2" fmla="*/ 26 w 156"/>
                  <a:gd name="T3" fmla="*/ 52 h 52"/>
                  <a:gd name="T4" fmla="*/ 0 w 156"/>
                  <a:gd name="T5" fmla="*/ 26 h 52"/>
                  <a:gd name="T6" fmla="*/ 26 w 156"/>
                  <a:gd name="T7" fmla="*/ 0 h 52"/>
                  <a:gd name="T8" fmla="*/ 130 w 156"/>
                  <a:gd name="T9" fmla="*/ 0 h 52"/>
                  <a:gd name="T10" fmla="*/ 156 w 156"/>
                  <a:gd name="T11" fmla="*/ 26 h 52"/>
                  <a:gd name="T12" fmla="*/ 130 w 156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52">
                    <a:moveTo>
                      <a:pt x="130" y="52"/>
                    </a:moveTo>
                    <a:lnTo>
                      <a:pt x="26" y="52"/>
                    </a:lnTo>
                    <a:cubicBezTo>
                      <a:pt x="11" y="52"/>
                      <a:pt x="0" y="40"/>
                      <a:pt x="0" y="26"/>
                    </a:cubicBezTo>
                    <a:cubicBezTo>
                      <a:pt x="0" y="12"/>
                      <a:pt x="11" y="0"/>
                      <a:pt x="26" y="0"/>
                    </a:cubicBezTo>
                    <a:lnTo>
                      <a:pt x="130" y="0"/>
                    </a:lnTo>
                    <a:cubicBezTo>
                      <a:pt x="144" y="0"/>
                      <a:pt x="156" y="12"/>
                      <a:pt x="156" y="26"/>
                    </a:cubicBezTo>
                    <a:cubicBezTo>
                      <a:pt x="156" y="40"/>
                      <a:pt x="144" y="52"/>
                      <a:pt x="130" y="5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0" name="Crowdsourcing2">
                <a:extLst>
                  <a:ext uri="{FF2B5EF4-FFF2-40B4-BE49-F238E27FC236}">
                    <a16:creationId xmlns:a16="http://schemas.microsoft.com/office/drawing/2014/main" id="{62545645-3CFB-0AA2-9D09-C7D233F59D9C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235533" y="1812758"/>
                <a:ext cx="21901" cy="68010"/>
              </a:xfrm>
              <a:custGeom>
                <a:avLst/>
                <a:gdLst>
                  <a:gd name="T0" fmla="*/ 26 w 52"/>
                  <a:gd name="T1" fmla="*/ 156 h 156"/>
                  <a:gd name="T2" fmla="*/ 0 w 52"/>
                  <a:gd name="T3" fmla="*/ 130 h 156"/>
                  <a:gd name="T4" fmla="*/ 0 w 52"/>
                  <a:gd name="T5" fmla="*/ 26 h 156"/>
                  <a:gd name="T6" fmla="*/ 26 w 52"/>
                  <a:gd name="T7" fmla="*/ 0 h 156"/>
                  <a:gd name="T8" fmla="*/ 52 w 52"/>
                  <a:gd name="T9" fmla="*/ 26 h 156"/>
                  <a:gd name="T10" fmla="*/ 52 w 52"/>
                  <a:gd name="T11" fmla="*/ 130 h 156"/>
                  <a:gd name="T12" fmla="*/ 26 w 52"/>
                  <a:gd name="T13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156">
                    <a:moveTo>
                      <a:pt x="26" y="156"/>
                    </a:moveTo>
                    <a:cubicBezTo>
                      <a:pt x="12" y="156"/>
                      <a:pt x="0" y="145"/>
                      <a:pt x="0" y="130"/>
                    </a:cubicBezTo>
                    <a:lnTo>
                      <a:pt x="0" y="26"/>
                    </a:lnTo>
                    <a:cubicBezTo>
                      <a:pt x="0" y="12"/>
                      <a:pt x="12" y="0"/>
                      <a:pt x="26" y="0"/>
                    </a:cubicBezTo>
                    <a:cubicBezTo>
                      <a:pt x="40" y="0"/>
                      <a:pt x="52" y="12"/>
                      <a:pt x="52" y="26"/>
                    </a:cubicBezTo>
                    <a:lnTo>
                      <a:pt x="52" y="130"/>
                    </a:lnTo>
                    <a:cubicBezTo>
                      <a:pt x="52" y="145"/>
                      <a:pt x="40" y="156"/>
                      <a:pt x="26" y="15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1" name="Crowdsourcing2">
                <a:extLst>
                  <a:ext uri="{FF2B5EF4-FFF2-40B4-BE49-F238E27FC236}">
                    <a16:creationId xmlns:a16="http://schemas.microsoft.com/office/drawing/2014/main" id="{59BD8009-D96C-32DD-F583-B7D19352A4B1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087986" y="1960304"/>
                <a:ext cx="68010" cy="21901"/>
              </a:xfrm>
              <a:custGeom>
                <a:avLst/>
                <a:gdLst>
                  <a:gd name="T0" fmla="*/ 131 w 157"/>
                  <a:gd name="T1" fmla="*/ 52 h 52"/>
                  <a:gd name="T2" fmla="*/ 26 w 157"/>
                  <a:gd name="T3" fmla="*/ 52 h 52"/>
                  <a:gd name="T4" fmla="*/ 0 w 157"/>
                  <a:gd name="T5" fmla="*/ 26 h 52"/>
                  <a:gd name="T6" fmla="*/ 26 w 157"/>
                  <a:gd name="T7" fmla="*/ 0 h 52"/>
                  <a:gd name="T8" fmla="*/ 131 w 157"/>
                  <a:gd name="T9" fmla="*/ 0 h 52"/>
                  <a:gd name="T10" fmla="*/ 157 w 157"/>
                  <a:gd name="T11" fmla="*/ 26 h 52"/>
                  <a:gd name="T12" fmla="*/ 131 w 157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52">
                    <a:moveTo>
                      <a:pt x="131" y="52"/>
                    </a:moveTo>
                    <a:lnTo>
                      <a:pt x="26" y="52"/>
                    </a:lnTo>
                    <a:cubicBezTo>
                      <a:pt x="12" y="52"/>
                      <a:pt x="0" y="40"/>
                      <a:pt x="0" y="26"/>
                    </a:cubicBezTo>
                    <a:cubicBezTo>
                      <a:pt x="0" y="11"/>
                      <a:pt x="12" y="0"/>
                      <a:pt x="26" y="0"/>
                    </a:cubicBezTo>
                    <a:lnTo>
                      <a:pt x="131" y="0"/>
                    </a:lnTo>
                    <a:cubicBezTo>
                      <a:pt x="145" y="0"/>
                      <a:pt x="157" y="11"/>
                      <a:pt x="157" y="26"/>
                    </a:cubicBezTo>
                    <a:cubicBezTo>
                      <a:pt x="157" y="40"/>
                      <a:pt x="145" y="52"/>
                      <a:pt x="131" y="5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2" name="Crowdsourcing2">
                <a:extLst>
                  <a:ext uri="{FF2B5EF4-FFF2-40B4-BE49-F238E27FC236}">
                    <a16:creationId xmlns:a16="http://schemas.microsoft.com/office/drawing/2014/main" id="{1EB3FE10-9F98-0FFB-CCE9-9A8700C9635B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128331" y="1853103"/>
                <a:ext cx="56483" cy="55330"/>
              </a:xfrm>
              <a:custGeom>
                <a:avLst/>
                <a:gdLst>
                  <a:gd name="T0" fmla="*/ 103 w 131"/>
                  <a:gd name="T1" fmla="*/ 128 h 128"/>
                  <a:gd name="T2" fmla="*/ 84 w 131"/>
                  <a:gd name="T3" fmla="*/ 121 h 128"/>
                  <a:gd name="T4" fmla="*/ 11 w 131"/>
                  <a:gd name="T5" fmla="*/ 47 h 128"/>
                  <a:gd name="T6" fmla="*/ 11 w 131"/>
                  <a:gd name="T7" fmla="*/ 10 h 128"/>
                  <a:gd name="T8" fmla="*/ 47 w 131"/>
                  <a:gd name="T9" fmla="*/ 10 h 128"/>
                  <a:gd name="T10" fmla="*/ 121 w 131"/>
                  <a:gd name="T11" fmla="*/ 84 h 128"/>
                  <a:gd name="T12" fmla="*/ 121 w 131"/>
                  <a:gd name="T13" fmla="*/ 121 h 128"/>
                  <a:gd name="T14" fmla="*/ 103 w 131"/>
                  <a:gd name="T15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1" h="128">
                    <a:moveTo>
                      <a:pt x="103" y="128"/>
                    </a:moveTo>
                    <a:cubicBezTo>
                      <a:pt x="96" y="128"/>
                      <a:pt x="89" y="126"/>
                      <a:pt x="84" y="121"/>
                    </a:cubicBezTo>
                    <a:lnTo>
                      <a:pt x="11" y="47"/>
                    </a:lnTo>
                    <a:cubicBezTo>
                      <a:pt x="0" y="37"/>
                      <a:pt x="0" y="20"/>
                      <a:pt x="11" y="10"/>
                    </a:cubicBezTo>
                    <a:cubicBezTo>
                      <a:pt x="21" y="0"/>
                      <a:pt x="37" y="0"/>
                      <a:pt x="47" y="10"/>
                    </a:cubicBezTo>
                    <a:lnTo>
                      <a:pt x="121" y="84"/>
                    </a:lnTo>
                    <a:cubicBezTo>
                      <a:pt x="131" y="94"/>
                      <a:pt x="131" y="111"/>
                      <a:pt x="121" y="121"/>
                    </a:cubicBezTo>
                    <a:cubicBezTo>
                      <a:pt x="116" y="126"/>
                      <a:pt x="109" y="128"/>
                      <a:pt x="103" y="12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3" name="Crowdsourcing2">
                <a:extLst>
                  <a:ext uri="{FF2B5EF4-FFF2-40B4-BE49-F238E27FC236}">
                    <a16:creationId xmlns:a16="http://schemas.microsoft.com/office/drawing/2014/main" id="{9497D880-C92B-DD1B-8F0B-CD680891985C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307001" y="1853103"/>
                <a:ext cx="56483" cy="55330"/>
              </a:xfrm>
              <a:custGeom>
                <a:avLst/>
                <a:gdLst>
                  <a:gd name="T0" fmla="*/ 28 w 130"/>
                  <a:gd name="T1" fmla="*/ 128 h 128"/>
                  <a:gd name="T2" fmla="*/ 10 w 130"/>
                  <a:gd name="T3" fmla="*/ 121 h 128"/>
                  <a:gd name="T4" fmla="*/ 10 w 130"/>
                  <a:gd name="T5" fmla="*/ 84 h 128"/>
                  <a:gd name="T6" fmla="*/ 83 w 130"/>
                  <a:gd name="T7" fmla="*/ 10 h 128"/>
                  <a:gd name="T8" fmla="*/ 120 w 130"/>
                  <a:gd name="T9" fmla="*/ 10 h 128"/>
                  <a:gd name="T10" fmla="*/ 120 w 130"/>
                  <a:gd name="T11" fmla="*/ 47 h 128"/>
                  <a:gd name="T12" fmla="*/ 47 w 130"/>
                  <a:gd name="T13" fmla="*/ 121 h 128"/>
                  <a:gd name="T14" fmla="*/ 28 w 130"/>
                  <a:gd name="T15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0" h="128">
                    <a:moveTo>
                      <a:pt x="28" y="128"/>
                    </a:moveTo>
                    <a:cubicBezTo>
                      <a:pt x="22" y="128"/>
                      <a:pt x="15" y="126"/>
                      <a:pt x="10" y="121"/>
                    </a:cubicBezTo>
                    <a:cubicBezTo>
                      <a:pt x="0" y="111"/>
                      <a:pt x="0" y="94"/>
                      <a:pt x="10" y="84"/>
                    </a:cubicBezTo>
                    <a:lnTo>
                      <a:pt x="83" y="10"/>
                    </a:lnTo>
                    <a:cubicBezTo>
                      <a:pt x="94" y="0"/>
                      <a:pt x="110" y="0"/>
                      <a:pt x="120" y="10"/>
                    </a:cubicBezTo>
                    <a:cubicBezTo>
                      <a:pt x="130" y="20"/>
                      <a:pt x="130" y="37"/>
                      <a:pt x="120" y="47"/>
                    </a:cubicBezTo>
                    <a:lnTo>
                      <a:pt x="47" y="121"/>
                    </a:lnTo>
                    <a:cubicBezTo>
                      <a:pt x="42" y="126"/>
                      <a:pt x="35" y="128"/>
                      <a:pt x="28" y="12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4" name="Crowdsourcing2">
                <a:extLst>
                  <a:ext uri="{FF2B5EF4-FFF2-40B4-BE49-F238E27FC236}">
                    <a16:creationId xmlns:a16="http://schemas.microsoft.com/office/drawing/2014/main" id="{2092D0CF-B4DD-E3ED-BA95-7DD5E3727866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336971" y="1960304"/>
                <a:ext cx="68010" cy="21901"/>
              </a:xfrm>
              <a:custGeom>
                <a:avLst/>
                <a:gdLst>
                  <a:gd name="T0" fmla="*/ 131 w 157"/>
                  <a:gd name="T1" fmla="*/ 52 h 52"/>
                  <a:gd name="T2" fmla="*/ 26 w 157"/>
                  <a:gd name="T3" fmla="*/ 52 h 52"/>
                  <a:gd name="T4" fmla="*/ 0 w 157"/>
                  <a:gd name="T5" fmla="*/ 26 h 52"/>
                  <a:gd name="T6" fmla="*/ 26 w 157"/>
                  <a:gd name="T7" fmla="*/ 0 h 52"/>
                  <a:gd name="T8" fmla="*/ 131 w 157"/>
                  <a:gd name="T9" fmla="*/ 0 h 52"/>
                  <a:gd name="T10" fmla="*/ 157 w 157"/>
                  <a:gd name="T11" fmla="*/ 26 h 52"/>
                  <a:gd name="T12" fmla="*/ 131 w 157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7" h="52">
                    <a:moveTo>
                      <a:pt x="131" y="52"/>
                    </a:moveTo>
                    <a:lnTo>
                      <a:pt x="26" y="52"/>
                    </a:lnTo>
                    <a:cubicBezTo>
                      <a:pt x="12" y="52"/>
                      <a:pt x="0" y="40"/>
                      <a:pt x="0" y="26"/>
                    </a:cubicBezTo>
                    <a:cubicBezTo>
                      <a:pt x="0" y="11"/>
                      <a:pt x="12" y="0"/>
                      <a:pt x="26" y="0"/>
                    </a:cubicBezTo>
                    <a:lnTo>
                      <a:pt x="131" y="0"/>
                    </a:lnTo>
                    <a:cubicBezTo>
                      <a:pt x="145" y="0"/>
                      <a:pt x="157" y="11"/>
                      <a:pt x="157" y="26"/>
                    </a:cubicBezTo>
                    <a:cubicBezTo>
                      <a:pt x="157" y="40"/>
                      <a:pt x="145" y="52"/>
                      <a:pt x="131" y="5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5" name="Crowdsourcing2">
                <a:extLst>
                  <a:ext uri="{FF2B5EF4-FFF2-40B4-BE49-F238E27FC236}">
                    <a16:creationId xmlns:a16="http://schemas.microsoft.com/office/drawing/2014/main" id="{C568C166-7842-58DA-44ED-3B8EA8D7F85A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212479" y="2128600"/>
                <a:ext cx="68010" cy="34581"/>
              </a:xfrm>
              <a:custGeom>
                <a:avLst/>
                <a:gdLst>
                  <a:gd name="T0" fmla="*/ 130 w 156"/>
                  <a:gd name="T1" fmla="*/ 0 h 78"/>
                  <a:gd name="T2" fmla="*/ 26 w 156"/>
                  <a:gd name="T3" fmla="*/ 0 h 78"/>
                  <a:gd name="T4" fmla="*/ 0 w 156"/>
                  <a:gd name="T5" fmla="*/ 26 h 78"/>
                  <a:gd name="T6" fmla="*/ 26 w 156"/>
                  <a:gd name="T7" fmla="*/ 52 h 78"/>
                  <a:gd name="T8" fmla="*/ 39 w 156"/>
                  <a:gd name="T9" fmla="*/ 52 h 78"/>
                  <a:gd name="T10" fmla="*/ 65 w 156"/>
                  <a:gd name="T11" fmla="*/ 78 h 78"/>
                  <a:gd name="T12" fmla="*/ 91 w 156"/>
                  <a:gd name="T13" fmla="*/ 78 h 78"/>
                  <a:gd name="T14" fmla="*/ 117 w 156"/>
                  <a:gd name="T15" fmla="*/ 52 h 78"/>
                  <a:gd name="T16" fmla="*/ 130 w 156"/>
                  <a:gd name="T17" fmla="*/ 52 h 78"/>
                  <a:gd name="T18" fmla="*/ 156 w 156"/>
                  <a:gd name="T19" fmla="*/ 26 h 78"/>
                  <a:gd name="T20" fmla="*/ 130 w 156"/>
                  <a:gd name="T2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6" h="78">
                    <a:moveTo>
                      <a:pt x="130" y="0"/>
                    </a:moveTo>
                    <a:lnTo>
                      <a:pt x="26" y="0"/>
                    </a:lnTo>
                    <a:cubicBezTo>
                      <a:pt x="11" y="0"/>
                      <a:pt x="0" y="12"/>
                      <a:pt x="0" y="26"/>
                    </a:cubicBezTo>
                    <a:cubicBezTo>
                      <a:pt x="0" y="41"/>
                      <a:pt x="11" y="52"/>
                      <a:pt x="26" y="52"/>
                    </a:cubicBezTo>
                    <a:lnTo>
                      <a:pt x="39" y="52"/>
                    </a:lnTo>
                    <a:cubicBezTo>
                      <a:pt x="39" y="67"/>
                      <a:pt x="51" y="78"/>
                      <a:pt x="65" y="78"/>
                    </a:cubicBezTo>
                    <a:lnTo>
                      <a:pt x="91" y="78"/>
                    </a:lnTo>
                    <a:cubicBezTo>
                      <a:pt x="105" y="78"/>
                      <a:pt x="117" y="67"/>
                      <a:pt x="117" y="52"/>
                    </a:cubicBezTo>
                    <a:lnTo>
                      <a:pt x="130" y="52"/>
                    </a:lnTo>
                    <a:cubicBezTo>
                      <a:pt x="144" y="52"/>
                      <a:pt x="156" y="41"/>
                      <a:pt x="156" y="26"/>
                    </a:cubicBezTo>
                    <a:cubicBezTo>
                      <a:pt x="156" y="12"/>
                      <a:pt x="144" y="0"/>
                      <a:pt x="13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  <p:sp>
            <p:nvSpPr>
              <p:cNvPr id="126" name="Crowdsourcing2">
                <a:extLst>
                  <a:ext uri="{FF2B5EF4-FFF2-40B4-BE49-F238E27FC236}">
                    <a16:creationId xmlns:a16="http://schemas.microsoft.com/office/drawing/2014/main" id="{FBDE751B-9F75-C874-6F5E-316D2492F152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167523" y="1892295"/>
                <a:ext cx="157921" cy="191349"/>
              </a:xfrm>
              <a:custGeom>
                <a:avLst/>
                <a:gdLst>
                  <a:gd name="T0" fmla="*/ 316 w 364"/>
                  <a:gd name="T1" fmla="*/ 306 h 443"/>
                  <a:gd name="T2" fmla="*/ 364 w 364"/>
                  <a:gd name="T3" fmla="*/ 183 h 443"/>
                  <a:gd name="T4" fmla="*/ 182 w 364"/>
                  <a:gd name="T5" fmla="*/ 0 h 443"/>
                  <a:gd name="T6" fmla="*/ 0 w 364"/>
                  <a:gd name="T7" fmla="*/ 183 h 443"/>
                  <a:gd name="T8" fmla="*/ 45 w 364"/>
                  <a:gd name="T9" fmla="*/ 302 h 443"/>
                  <a:gd name="T10" fmla="*/ 104 w 364"/>
                  <a:gd name="T11" fmla="*/ 417 h 443"/>
                  <a:gd name="T12" fmla="*/ 130 w 364"/>
                  <a:gd name="T13" fmla="*/ 443 h 443"/>
                  <a:gd name="T14" fmla="*/ 234 w 364"/>
                  <a:gd name="T15" fmla="*/ 443 h 443"/>
                  <a:gd name="T16" fmla="*/ 260 w 364"/>
                  <a:gd name="T17" fmla="*/ 417 h 443"/>
                  <a:gd name="T18" fmla="*/ 260 w 364"/>
                  <a:gd name="T19" fmla="*/ 416 h 443"/>
                  <a:gd name="T20" fmla="*/ 316 w 364"/>
                  <a:gd name="T21" fmla="*/ 30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443">
                    <a:moveTo>
                      <a:pt x="316" y="306"/>
                    </a:moveTo>
                    <a:cubicBezTo>
                      <a:pt x="346" y="273"/>
                      <a:pt x="364" y="230"/>
                      <a:pt x="364" y="183"/>
                    </a:cubicBezTo>
                    <a:cubicBezTo>
                      <a:pt x="364" y="82"/>
                      <a:pt x="283" y="0"/>
                      <a:pt x="182" y="0"/>
                    </a:cubicBezTo>
                    <a:cubicBezTo>
                      <a:pt x="81" y="0"/>
                      <a:pt x="0" y="82"/>
                      <a:pt x="0" y="183"/>
                    </a:cubicBezTo>
                    <a:cubicBezTo>
                      <a:pt x="0" y="229"/>
                      <a:pt x="17" y="270"/>
                      <a:pt x="45" y="302"/>
                    </a:cubicBezTo>
                    <a:cubicBezTo>
                      <a:pt x="57" y="316"/>
                      <a:pt x="104" y="372"/>
                      <a:pt x="104" y="417"/>
                    </a:cubicBezTo>
                    <a:cubicBezTo>
                      <a:pt x="104" y="431"/>
                      <a:pt x="115" y="443"/>
                      <a:pt x="130" y="443"/>
                    </a:cubicBezTo>
                    <a:lnTo>
                      <a:pt x="234" y="443"/>
                    </a:lnTo>
                    <a:cubicBezTo>
                      <a:pt x="248" y="443"/>
                      <a:pt x="260" y="431"/>
                      <a:pt x="260" y="417"/>
                    </a:cubicBezTo>
                    <a:lnTo>
                      <a:pt x="260" y="416"/>
                    </a:lnTo>
                    <a:cubicBezTo>
                      <a:pt x="261" y="373"/>
                      <a:pt x="301" y="323"/>
                      <a:pt x="316" y="30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66"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D5BFC409-EC03-B079-A863-16C0B12A3CF5}"/>
              </a:ext>
            </a:extLst>
          </p:cNvPr>
          <p:cNvGrpSpPr/>
          <p:nvPr/>
        </p:nvGrpSpPr>
        <p:grpSpPr>
          <a:xfrm>
            <a:off x="6984935" y="6471751"/>
            <a:ext cx="4016131" cy="2846642"/>
            <a:chOff x="16937978" y="2563266"/>
            <a:chExt cx="4228557" cy="2997210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F552A99-7C54-5A50-E7DC-7D82ECA08A9E}"/>
                </a:ext>
              </a:extLst>
            </p:cNvPr>
            <p:cNvSpPr txBox="1"/>
            <p:nvPr/>
          </p:nvSpPr>
          <p:spPr>
            <a:xfrm>
              <a:off x="17234690" y="4901023"/>
              <a:ext cx="3776917" cy="6594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35" kern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" panose="020B0502040204020203" pitchFamily="34" charset="0"/>
                </a:rPr>
                <a:t>Ideate to discover opportunities.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8BFF352-47D4-9F73-D9B9-14996DAE8B64}"/>
                </a:ext>
              </a:extLst>
            </p:cNvPr>
            <p:cNvSpPr txBox="1"/>
            <p:nvPr/>
          </p:nvSpPr>
          <p:spPr>
            <a:xfrm>
              <a:off x="16937978" y="4384229"/>
              <a:ext cx="4228557" cy="4029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en-US" sz="2487" b="1" ker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/>
                </a:rPr>
                <a:t>Options</a:t>
              </a:r>
              <a:endParaRPr lang="en-US" sz="2487" b="1" kern="0">
                <a:solidFill>
                  <a:schemeClr val="tx1">
                    <a:lumMod val="75000"/>
                    <a:lumOff val="25000"/>
                  </a:schemeClr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C894951C-E4C0-893C-C544-9CDAE99A5B89}"/>
                </a:ext>
              </a:extLst>
            </p:cNvPr>
            <p:cNvSpPr/>
            <p:nvPr/>
          </p:nvSpPr>
          <p:spPr>
            <a:xfrm>
              <a:off x="18270021" y="2563266"/>
              <a:ext cx="1698270" cy="16991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sp>
          <p:nvSpPr>
            <p:cNvPr id="114" name="Diploma">
              <a:extLst>
                <a:ext uri="{FF2B5EF4-FFF2-40B4-BE49-F238E27FC236}">
                  <a16:creationId xmlns:a16="http://schemas.microsoft.com/office/drawing/2014/main" id="{0A233A9A-222A-63F5-FF10-FDB4A94D22B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8539820" y="2947033"/>
              <a:ext cx="1158672" cy="931572"/>
            </a:xfrm>
            <a:custGeom>
              <a:avLst/>
              <a:gdLst>
                <a:gd name="T0" fmla="*/ 108 w 592"/>
                <a:gd name="T1" fmla="*/ 278 h 490"/>
                <a:gd name="T2" fmla="*/ 108 w 592"/>
                <a:gd name="T3" fmla="*/ 386 h 490"/>
                <a:gd name="T4" fmla="*/ 293 w 592"/>
                <a:gd name="T5" fmla="*/ 489 h 490"/>
                <a:gd name="T6" fmla="*/ 483 w 592"/>
                <a:gd name="T7" fmla="*/ 386 h 490"/>
                <a:gd name="T8" fmla="*/ 483 w 592"/>
                <a:gd name="T9" fmla="*/ 278 h 490"/>
                <a:gd name="T10" fmla="*/ 293 w 592"/>
                <a:gd name="T11" fmla="*/ 381 h 490"/>
                <a:gd name="T12" fmla="*/ 108 w 592"/>
                <a:gd name="T13" fmla="*/ 278 h 490"/>
                <a:gd name="T14" fmla="*/ 293 w 592"/>
                <a:gd name="T15" fmla="*/ 0 h 490"/>
                <a:gd name="T16" fmla="*/ 0 w 592"/>
                <a:gd name="T17" fmla="*/ 165 h 490"/>
                <a:gd name="T18" fmla="*/ 293 w 592"/>
                <a:gd name="T19" fmla="*/ 324 h 490"/>
                <a:gd name="T20" fmla="*/ 535 w 592"/>
                <a:gd name="T21" fmla="*/ 196 h 490"/>
                <a:gd name="T22" fmla="*/ 535 w 592"/>
                <a:gd name="T23" fmla="*/ 381 h 490"/>
                <a:gd name="T24" fmla="*/ 591 w 592"/>
                <a:gd name="T25" fmla="*/ 381 h 490"/>
                <a:gd name="T26" fmla="*/ 591 w 592"/>
                <a:gd name="T27" fmla="*/ 165 h 490"/>
                <a:gd name="T28" fmla="*/ 293 w 592"/>
                <a:gd name="T29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490">
                  <a:moveTo>
                    <a:pt x="108" y="278"/>
                  </a:moveTo>
                  <a:lnTo>
                    <a:pt x="108" y="386"/>
                  </a:lnTo>
                  <a:lnTo>
                    <a:pt x="293" y="489"/>
                  </a:lnTo>
                  <a:lnTo>
                    <a:pt x="483" y="386"/>
                  </a:lnTo>
                  <a:lnTo>
                    <a:pt x="483" y="278"/>
                  </a:lnTo>
                  <a:lnTo>
                    <a:pt x="293" y="381"/>
                  </a:lnTo>
                  <a:lnTo>
                    <a:pt x="108" y="278"/>
                  </a:lnTo>
                  <a:close/>
                  <a:moveTo>
                    <a:pt x="293" y="0"/>
                  </a:moveTo>
                  <a:lnTo>
                    <a:pt x="0" y="165"/>
                  </a:lnTo>
                  <a:lnTo>
                    <a:pt x="293" y="324"/>
                  </a:lnTo>
                  <a:lnTo>
                    <a:pt x="535" y="196"/>
                  </a:lnTo>
                  <a:lnTo>
                    <a:pt x="535" y="381"/>
                  </a:lnTo>
                  <a:lnTo>
                    <a:pt x="591" y="381"/>
                  </a:lnTo>
                  <a:lnTo>
                    <a:pt x="591" y="165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166">
                <a:cs typeface="Segoe UI" panose="020B0502040204020203" pitchFamily="34" charset="0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92CFBA40-206C-216D-2558-23FC398C7E24}"/>
              </a:ext>
            </a:extLst>
          </p:cNvPr>
          <p:cNvGrpSpPr/>
          <p:nvPr/>
        </p:nvGrpSpPr>
        <p:grpSpPr>
          <a:xfrm>
            <a:off x="9648460" y="9883473"/>
            <a:ext cx="4261211" cy="3156739"/>
            <a:chOff x="9648460" y="9883473"/>
            <a:chExt cx="4261211" cy="3156739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88B83491-0CFF-5AA8-0FA3-AC5600729193}"/>
                </a:ext>
              </a:extLst>
            </p:cNvPr>
            <p:cNvGrpSpPr/>
            <p:nvPr/>
          </p:nvGrpSpPr>
          <p:grpSpPr>
            <a:xfrm>
              <a:off x="9648460" y="11604899"/>
              <a:ext cx="4261211" cy="1435313"/>
              <a:chOff x="2903546" y="6480494"/>
              <a:chExt cx="2537914" cy="880753"/>
            </a:xfrm>
          </p:grpSpPr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BE387F2D-555C-D088-F2A7-57A1D1195F64}"/>
                  </a:ext>
                </a:extLst>
              </p:cNvPr>
              <p:cNvSpPr txBox="1"/>
              <p:nvPr/>
            </p:nvSpPr>
            <p:spPr>
              <a:xfrm>
                <a:off x="3209108" y="6784748"/>
                <a:ext cx="2039469" cy="576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035" kern="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Segoe UI" panose="020B0502040204020203" pitchFamily="34" charset="0"/>
                  </a:rPr>
                  <a:t>Agree on recommendations and vote for improvement initiatives.</a:t>
                </a:r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A324FADE-5E97-8E08-1897-DE9EEBF32433}"/>
                  </a:ext>
                </a:extLst>
              </p:cNvPr>
              <p:cNvSpPr txBox="1"/>
              <p:nvPr/>
            </p:nvSpPr>
            <p:spPr>
              <a:xfrm>
                <a:off x="2903546" y="6480494"/>
                <a:ext cx="2537914" cy="23485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algn="ctr"/>
                <a:r>
                  <a:rPr lang="en-US" sz="2487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" panose="020B0502040204020203" pitchFamily="34" charset="0"/>
                  </a:rPr>
                  <a:t>Recommendations</a:t>
                </a: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C1CFC2F4-559D-007A-9F64-9AF815417D6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15766" y="9883473"/>
              <a:ext cx="1606650" cy="1607442"/>
              <a:chOff x="15890166" y="6213090"/>
              <a:chExt cx="1698270" cy="1699105"/>
            </a:xfrm>
          </p:grpSpPr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D9C71DF3-642D-A99B-CA14-A57A7FD02452}"/>
                  </a:ext>
                </a:extLst>
              </p:cNvPr>
              <p:cNvSpPr/>
              <p:nvPr/>
            </p:nvSpPr>
            <p:spPr>
              <a:xfrm>
                <a:off x="15890166" y="6213090"/>
                <a:ext cx="1698270" cy="16991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01600" dir="21540000" sx="106000" sy="106000" algn="l" rotWithShape="0">
                  <a:schemeClr val="tx2">
                    <a:lumMod val="60000"/>
                    <a:lumOff val="40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/>
                <a:endParaRPr lang="en-IN" sz="4523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3" name="Freeform 39">
                <a:extLst>
                  <a:ext uri="{FF2B5EF4-FFF2-40B4-BE49-F238E27FC236}">
                    <a16:creationId xmlns:a16="http://schemas.microsoft.com/office/drawing/2014/main" id="{DA622C82-6DE6-3B9D-ED4B-52832D958AB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6937977" y="6629936"/>
                <a:ext cx="296714" cy="865412"/>
              </a:xfrm>
              <a:custGeom>
                <a:avLst/>
                <a:gdLst>
                  <a:gd name="T0" fmla="*/ 134 w 200"/>
                  <a:gd name="T1" fmla="*/ 0 h 600"/>
                  <a:gd name="T2" fmla="*/ 67 w 200"/>
                  <a:gd name="T3" fmla="*/ 0 h 600"/>
                  <a:gd name="T4" fmla="*/ 0 w 200"/>
                  <a:gd name="T5" fmla="*/ 67 h 600"/>
                  <a:gd name="T6" fmla="*/ 0 w 200"/>
                  <a:gd name="T7" fmla="*/ 600 h 600"/>
                  <a:gd name="T8" fmla="*/ 200 w 200"/>
                  <a:gd name="T9" fmla="*/ 600 h 600"/>
                  <a:gd name="T10" fmla="*/ 200 w 200"/>
                  <a:gd name="T11" fmla="*/ 67 h 600"/>
                  <a:gd name="T12" fmla="*/ 134 w 200"/>
                  <a:gd name="T13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600">
                    <a:moveTo>
                      <a:pt x="134" y="0"/>
                    </a:moveTo>
                    <a:lnTo>
                      <a:pt x="67" y="0"/>
                    </a:lnTo>
                    <a:cubicBezTo>
                      <a:pt x="30" y="0"/>
                      <a:pt x="0" y="30"/>
                      <a:pt x="0" y="67"/>
                    </a:cubicBezTo>
                    <a:lnTo>
                      <a:pt x="0" y="600"/>
                    </a:lnTo>
                    <a:lnTo>
                      <a:pt x="200" y="600"/>
                    </a:lnTo>
                    <a:lnTo>
                      <a:pt x="200" y="67"/>
                    </a:lnTo>
                    <a:cubicBezTo>
                      <a:pt x="200" y="30"/>
                      <a:pt x="170" y="0"/>
                      <a:pt x="13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523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4" name="Freeform 39">
                <a:extLst>
                  <a:ext uri="{FF2B5EF4-FFF2-40B4-BE49-F238E27FC236}">
                    <a16:creationId xmlns:a16="http://schemas.microsoft.com/office/drawing/2014/main" id="{A9C0AB5D-5C1B-94EB-229B-E7D472159679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6550670" y="6949102"/>
                <a:ext cx="296714" cy="546246"/>
              </a:xfrm>
              <a:custGeom>
                <a:avLst/>
                <a:gdLst>
                  <a:gd name="T0" fmla="*/ 134 w 200"/>
                  <a:gd name="T1" fmla="*/ 0 h 600"/>
                  <a:gd name="T2" fmla="*/ 67 w 200"/>
                  <a:gd name="T3" fmla="*/ 0 h 600"/>
                  <a:gd name="T4" fmla="*/ 0 w 200"/>
                  <a:gd name="T5" fmla="*/ 67 h 600"/>
                  <a:gd name="T6" fmla="*/ 0 w 200"/>
                  <a:gd name="T7" fmla="*/ 600 h 600"/>
                  <a:gd name="T8" fmla="*/ 200 w 200"/>
                  <a:gd name="T9" fmla="*/ 600 h 600"/>
                  <a:gd name="T10" fmla="*/ 200 w 200"/>
                  <a:gd name="T11" fmla="*/ 67 h 600"/>
                  <a:gd name="T12" fmla="*/ 134 w 200"/>
                  <a:gd name="T13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600">
                    <a:moveTo>
                      <a:pt x="134" y="0"/>
                    </a:moveTo>
                    <a:lnTo>
                      <a:pt x="67" y="0"/>
                    </a:lnTo>
                    <a:cubicBezTo>
                      <a:pt x="30" y="0"/>
                      <a:pt x="0" y="30"/>
                      <a:pt x="0" y="67"/>
                    </a:cubicBezTo>
                    <a:lnTo>
                      <a:pt x="0" y="600"/>
                    </a:lnTo>
                    <a:lnTo>
                      <a:pt x="200" y="600"/>
                    </a:lnTo>
                    <a:lnTo>
                      <a:pt x="200" y="67"/>
                    </a:lnTo>
                    <a:cubicBezTo>
                      <a:pt x="200" y="30"/>
                      <a:pt x="170" y="0"/>
                      <a:pt x="13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523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5" name="Freeform 39">
                <a:extLst>
                  <a:ext uri="{FF2B5EF4-FFF2-40B4-BE49-F238E27FC236}">
                    <a16:creationId xmlns:a16="http://schemas.microsoft.com/office/drawing/2014/main" id="{2170AB8A-2D3F-B66B-1493-327F65A02864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16163362" y="7096728"/>
                <a:ext cx="296714" cy="398620"/>
              </a:xfrm>
              <a:custGeom>
                <a:avLst/>
                <a:gdLst>
                  <a:gd name="T0" fmla="*/ 134 w 200"/>
                  <a:gd name="T1" fmla="*/ 0 h 600"/>
                  <a:gd name="T2" fmla="*/ 67 w 200"/>
                  <a:gd name="T3" fmla="*/ 0 h 600"/>
                  <a:gd name="T4" fmla="*/ 0 w 200"/>
                  <a:gd name="T5" fmla="*/ 67 h 600"/>
                  <a:gd name="T6" fmla="*/ 0 w 200"/>
                  <a:gd name="T7" fmla="*/ 600 h 600"/>
                  <a:gd name="T8" fmla="*/ 200 w 200"/>
                  <a:gd name="T9" fmla="*/ 600 h 600"/>
                  <a:gd name="T10" fmla="*/ 200 w 200"/>
                  <a:gd name="T11" fmla="*/ 67 h 600"/>
                  <a:gd name="T12" fmla="*/ 134 w 200"/>
                  <a:gd name="T13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600">
                    <a:moveTo>
                      <a:pt x="134" y="0"/>
                    </a:moveTo>
                    <a:lnTo>
                      <a:pt x="67" y="0"/>
                    </a:lnTo>
                    <a:cubicBezTo>
                      <a:pt x="30" y="0"/>
                      <a:pt x="0" y="30"/>
                      <a:pt x="0" y="67"/>
                    </a:cubicBezTo>
                    <a:lnTo>
                      <a:pt x="0" y="600"/>
                    </a:lnTo>
                    <a:lnTo>
                      <a:pt x="200" y="600"/>
                    </a:lnTo>
                    <a:lnTo>
                      <a:pt x="200" y="67"/>
                    </a:lnTo>
                    <a:cubicBezTo>
                      <a:pt x="200" y="30"/>
                      <a:pt x="170" y="0"/>
                      <a:pt x="13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206777" tIns="103389" rIns="206777" bIns="10338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523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5A9C58AE-2A5D-5C9D-4638-EBE1976EDB78}"/>
                  </a:ext>
                </a:extLst>
              </p:cNvPr>
              <p:cNvSpPr/>
              <p:nvPr/>
            </p:nvSpPr>
            <p:spPr>
              <a:xfrm>
                <a:off x="16086218" y="6827236"/>
                <a:ext cx="1306168" cy="516211"/>
              </a:xfrm>
              <a:custGeom>
                <a:avLst/>
                <a:gdLst>
                  <a:gd name="connsiteX0" fmla="*/ 0 w 728663"/>
                  <a:gd name="connsiteY0" fmla="*/ 352425 h 419100"/>
                  <a:gd name="connsiteX1" fmla="*/ 195263 w 728663"/>
                  <a:gd name="connsiteY1" fmla="*/ 419100 h 419100"/>
                  <a:gd name="connsiteX2" fmla="*/ 409575 w 728663"/>
                  <a:gd name="connsiteY2" fmla="*/ 261938 h 419100"/>
                  <a:gd name="connsiteX3" fmla="*/ 647700 w 728663"/>
                  <a:gd name="connsiteY3" fmla="*/ 200025 h 419100"/>
                  <a:gd name="connsiteX4" fmla="*/ 728663 w 728663"/>
                  <a:gd name="connsiteY4" fmla="*/ 0 h 419100"/>
                  <a:gd name="connsiteX0" fmla="*/ 0 w 795338"/>
                  <a:gd name="connsiteY0" fmla="*/ 298694 h 365369"/>
                  <a:gd name="connsiteX1" fmla="*/ 195263 w 795338"/>
                  <a:gd name="connsiteY1" fmla="*/ 365369 h 365369"/>
                  <a:gd name="connsiteX2" fmla="*/ 409575 w 795338"/>
                  <a:gd name="connsiteY2" fmla="*/ 208207 h 365369"/>
                  <a:gd name="connsiteX3" fmla="*/ 647700 w 795338"/>
                  <a:gd name="connsiteY3" fmla="*/ 146294 h 365369"/>
                  <a:gd name="connsiteX4" fmla="*/ 795338 w 795338"/>
                  <a:gd name="connsiteY4" fmla="*/ 0 h 365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338" h="365369">
                    <a:moveTo>
                      <a:pt x="0" y="298694"/>
                    </a:moveTo>
                    <a:lnTo>
                      <a:pt x="195263" y="365369"/>
                    </a:lnTo>
                    <a:lnTo>
                      <a:pt x="409575" y="208207"/>
                    </a:lnTo>
                    <a:lnTo>
                      <a:pt x="647700" y="146294"/>
                    </a:lnTo>
                    <a:lnTo>
                      <a:pt x="795338" y="0"/>
                    </a:lnTo>
                  </a:path>
                </a:pathLst>
              </a:custGeom>
              <a:noFill/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4523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0A75BFB1-54A0-DB6E-6E25-2449A774500A}"/>
              </a:ext>
            </a:extLst>
          </p:cNvPr>
          <p:cNvGrpSpPr/>
          <p:nvPr/>
        </p:nvGrpSpPr>
        <p:grpSpPr>
          <a:xfrm>
            <a:off x="17789531" y="10025899"/>
            <a:ext cx="4261211" cy="2873651"/>
            <a:chOff x="17789531" y="10025899"/>
            <a:chExt cx="4261211" cy="287365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0B7D2CC6-0AE1-934C-CA68-8E828A661250}"/>
                </a:ext>
              </a:extLst>
            </p:cNvPr>
            <p:cNvGrpSpPr/>
            <p:nvPr/>
          </p:nvGrpSpPr>
          <p:grpSpPr>
            <a:xfrm>
              <a:off x="17789531" y="11777388"/>
              <a:ext cx="4261211" cy="1122162"/>
              <a:chOff x="3324374" y="6480494"/>
              <a:chExt cx="2537914" cy="688591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E534B7F2-F68A-48D6-A8A9-D65BA451DD7B}"/>
                  </a:ext>
                </a:extLst>
              </p:cNvPr>
              <p:cNvSpPr txBox="1"/>
              <p:nvPr/>
            </p:nvSpPr>
            <p:spPr>
              <a:xfrm>
                <a:off x="3629938" y="6784754"/>
                <a:ext cx="2039469" cy="3843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035" kern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Segoe UI" panose="020B0502040204020203" pitchFamily="34" charset="0"/>
                  </a:rPr>
                  <a:t>Implement as initiatives. Transition to the future state. </a:t>
                </a:r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51C28316-B169-E6B9-4EB9-3BF656B55307}"/>
                  </a:ext>
                </a:extLst>
              </p:cNvPr>
              <p:cNvSpPr txBox="1"/>
              <p:nvPr/>
            </p:nvSpPr>
            <p:spPr>
              <a:xfrm>
                <a:off x="3324374" y="6480494"/>
                <a:ext cx="2537914" cy="2348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algn="ctr"/>
                <a:r>
                  <a:rPr lang="en-US" sz="2487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"/>
                  </a:rPr>
                  <a:t>Initiatives</a:t>
                </a:r>
                <a:endParaRPr lang="en-US" sz="2487" b="1" ker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972266E5-6EE8-AB9D-102A-242C27159666}"/>
                </a:ext>
              </a:extLst>
            </p:cNvPr>
            <p:cNvSpPr/>
            <p:nvPr/>
          </p:nvSpPr>
          <p:spPr>
            <a:xfrm>
              <a:off x="19165784" y="10025899"/>
              <a:ext cx="1612955" cy="16137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sp>
          <p:nvSpPr>
            <p:cNvPr id="100" name="Gear2">
              <a:extLst>
                <a:ext uri="{FF2B5EF4-FFF2-40B4-BE49-F238E27FC236}">
                  <a16:creationId xmlns:a16="http://schemas.microsoft.com/office/drawing/2014/main" id="{FC47571D-8101-37A5-615F-87D0B8779233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517443" y="10390386"/>
              <a:ext cx="909634" cy="884773"/>
            </a:xfrm>
            <a:custGeom>
              <a:avLst/>
              <a:gdLst>
                <a:gd name="T0" fmla="*/ 500 w 1150"/>
                <a:gd name="T1" fmla="*/ 0 h 1150"/>
                <a:gd name="T2" fmla="*/ 475 w 1150"/>
                <a:gd name="T3" fmla="*/ 25 h 1150"/>
                <a:gd name="T4" fmla="*/ 475 w 1150"/>
                <a:gd name="T5" fmla="*/ 150 h 1150"/>
                <a:gd name="T6" fmla="*/ 345 w 1150"/>
                <a:gd name="T7" fmla="*/ 204 h 1150"/>
                <a:gd name="T8" fmla="*/ 257 w 1150"/>
                <a:gd name="T9" fmla="*/ 115 h 1150"/>
                <a:gd name="T10" fmla="*/ 221 w 1150"/>
                <a:gd name="T11" fmla="*/ 115 h 1150"/>
                <a:gd name="T12" fmla="*/ 115 w 1150"/>
                <a:gd name="T13" fmla="*/ 221 h 1150"/>
                <a:gd name="T14" fmla="*/ 115 w 1150"/>
                <a:gd name="T15" fmla="*/ 257 h 1150"/>
                <a:gd name="T16" fmla="*/ 203 w 1150"/>
                <a:gd name="T17" fmla="*/ 345 h 1150"/>
                <a:gd name="T18" fmla="*/ 150 w 1150"/>
                <a:gd name="T19" fmla="*/ 475 h 1150"/>
                <a:gd name="T20" fmla="*/ 25 w 1150"/>
                <a:gd name="T21" fmla="*/ 475 h 1150"/>
                <a:gd name="T22" fmla="*/ 0 w 1150"/>
                <a:gd name="T23" fmla="*/ 500 h 1150"/>
                <a:gd name="T24" fmla="*/ 0 w 1150"/>
                <a:gd name="T25" fmla="*/ 650 h 1150"/>
                <a:gd name="T26" fmla="*/ 25 w 1150"/>
                <a:gd name="T27" fmla="*/ 675 h 1150"/>
                <a:gd name="T28" fmla="*/ 150 w 1150"/>
                <a:gd name="T29" fmla="*/ 675 h 1150"/>
                <a:gd name="T30" fmla="*/ 204 w 1150"/>
                <a:gd name="T31" fmla="*/ 805 h 1150"/>
                <a:gd name="T32" fmla="*/ 115 w 1150"/>
                <a:gd name="T33" fmla="*/ 893 h 1150"/>
                <a:gd name="T34" fmla="*/ 115 w 1150"/>
                <a:gd name="T35" fmla="*/ 929 h 1150"/>
                <a:gd name="T36" fmla="*/ 221 w 1150"/>
                <a:gd name="T37" fmla="*/ 1035 h 1150"/>
                <a:gd name="T38" fmla="*/ 257 w 1150"/>
                <a:gd name="T39" fmla="*/ 1035 h 1150"/>
                <a:gd name="T40" fmla="*/ 345 w 1150"/>
                <a:gd name="T41" fmla="*/ 947 h 1150"/>
                <a:gd name="T42" fmla="*/ 475 w 1150"/>
                <a:gd name="T43" fmla="*/ 1000 h 1150"/>
                <a:gd name="T44" fmla="*/ 475 w 1150"/>
                <a:gd name="T45" fmla="*/ 1125 h 1150"/>
                <a:gd name="T46" fmla="*/ 500 w 1150"/>
                <a:gd name="T47" fmla="*/ 1150 h 1150"/>
                <a:gd name="T48" fmla="*/ 650 w 1150"/>
                <a:gd name="T49" fmla="*/ 1150 h 1150"/>
                <a:gd name="T50" fmla="*/ 675 w 1150"/>
                <a:gd name="T51" fmla="*/ 1125 h 1150"/>
                <a:gd name="T52" fmla="*/ 675 w 1150"/>
                <a:gd name="T53" fmla="*/ 1000 h 1150"/>
                <a:gd name="T54" fmla="*/ 805 w 1150"/>
                <a:gd name="T55" fmla="*/ 946 h 1150"/>
                <a:gd name="T56" fmla="*/ 893 w 1150"/>
                <a:gd name="T57" fmla="*/ 1035 h 1150"/>
                <a:gd name="T58" fmla="*/ 929 w 1150"/>
                <a:gd name="T59" fmla="*/ 1035 h 1150"/>
                <a:gd name="T60" fmla="*/ 1035 w 1150"/>
                <a:gd name="T61" fmla="*/ 929 h 1150"/>
                <a:gd name="T62" fmla="*/ 1035 w 1150"/>
                <a:gd name="T63" fmla="*/ 893 h 1150"/>
                <a:gd name="T64" fmla="*/ 947 w 1150"/>
                <a:gd name="T65" fmla="*/ 805 h 1150"/>
                <a:gd name="T66" fmla="*/ 1001 w 1150"/>
                <a:gd name="T67" fmla="*/ 675 h 1150"/>
                <a:gd name="T68" fmla="*/ 1125 w 1150"/>
                <a:gd name="T69" fmla="*/ 675 h 1150"/>
                <a:gd name="T70" fmla="*/ 1150 w 1150"/>
                <a:gd name="T71" fmla="*/ 650 h 1150"/>
                <a:gd name="T72" fmla="*/ 1150 w 1150"/>
                <a:gd name="T73" fmla="*/ 500 h 1150"/>
                <a:gd name="T74" fmla="*/ 1125 w 1150"/>
                <a:gd name="T75" fmla="*/ 475 h 1150"/>
                <a:gd name="T76" fmla="*/ 1001 w 1150"/>
                <a:gd name="T77" fmla="*/ 475 h 1150"/>
                <a:gd name="T78" fmla="*/ 947 w 1150"/>
                <a:gd name="T79" fmla="*/ 345 h 1150"/>
                <a:gd name="T80" fmla="*/ 1035 w 1150"/>
                <a:gd name="T81" fmla="*/ 257 h 1150"/>
                <a:gd name="T82" fmla="*/ 1035 w 1150"/>
                <a:gd name="T83" fmla="*/ 221 h 1150"/>
                <a:gd name="T84" fmla="*/ 929 w 1150"/>
                <a:gd name="T85" fmla="*/ 115 h 1150"/>
                <a:gd name="T86" fmla="*/ 893 w 1150"/>
                <a:gd name="T87" fmla="*/ 115 h 1150"/>
                <a:gd name="T88" fmla="*/ 805 w 1150"/>
                <a:gd name="T89" fmla="*/ 203 h 1150"/>
                <a:gd name="T90" fmla="*/ 675 w 1150"/>
                <a:gd name="T91" fmla="*/ 150 h 1150"/>
                <a:gd name="T92" fmla="*/ 675 w 1150"/>
                <a:gd name="T93" fmla="*/ 25 h 1150"/>
                <a:gd name="T94" fmla="*/ 650 w 1150"/>
                <a:gd name="T95" fmla="*/ 0 h 1150"/>
                <a:gd name="T96" fmla="*/ 500 w 1150"/>
                <a:gd name="T97" fmla="*/ 0 h 1150"/>
                <a:gd name="T98" fmla="*/ 577 w 1150"/>
                <a:gd name="T99" fmla="*/ 413 h 1150"/>
                <a:gd name="T100" fmla="*/ 690 w 1150"/>
                <a:gd name="T101" fmla="*/ 460 h 1150"/>
                <a:gd name="T102" fmla="*/ 690 w 1150"/>
                <a:gd name="T103" fmla="*/ 690 h 1150"/>
                <a:gd name="T104" fmla="*/ 460 w 1150"/>
                <a:gd name="T105" fmla="*/ 690 h 1150"/>
                <a:gd name="T106" fmla="*/ 460 w 1150"/>
                <a:gd name="T107" fmla="*/ 460 h 1150"/>
                <a:gd name="T108" fmla="*/ 577 w 1150"/>
                <a:gd name="T109" fmla="*/ 413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0" h="1150">
                  <a:moveTo>
                    <a:pt x="500" y="0"/>
                  </a:moveTo>
                  <a:cubicBezTo>
                    <a:pt x="486" y="0"/>
                    <a:pt x="475" y="11"/>
                    <a:pt x="475" y="25"/>
                  </a:cubicBezTo>
                  <a:lnTo>
                    <a:pt x="475" y="150"/>
                  </a:lnTo>
                  <a:cubicBezTo>
                    <a:pt x="429" y="160"/>
                    <a:pt x="385" y="179"/>
                    <a:pt x="345" y="204"/>
                  </a:cubicBezTo>
                  <a:lnTo>
                    <a:pt x="257" y="115"/>
                  </a:lnTo>
                  <a:cubicBezTo>
                    <a:pt x="247" y="106"/>
                    <a:pt x="231" y="106"/>
                    <a:pt x="221" y="115"/>
                  </a:cubicBezTo>
                  <a:lnTo>
                    <a:pt x="115" y="221"/>
                  </a:lnTo>
                  <a:cubicBezTo>
                    <a:pt x="106" y="231"/>
                    <a:pt x="106" y="247"/>
                    <a:pt x="115" y="257"/>
                  </a:cubicBezTo>
                  <a:lnTo>
                    <a:pt x="203" y="345"/>
                  </a:lnTo>
                  <a:cubicBezTo>
                    <a:pt x="179" y="385"/>
                    <a:pt x="160" y="429"/>
                    <a:pt x="150" y="475"/>
                  </a:cubicBezTo>
                  <a:lnTo>
                    <a:pt x="25" y="475"/>
                  </a:lnTo>
                  <a:cubicBezTo>
                    <a:pt x="11" y="475"/>
                    <a:pt x="0" y="486"/>
                    <a:pt x="0" y="500"/>
                  </a:cubicBezTo>
                  <a:lnTo>
                    <a:pt x="0" y="650"/>
                  </a:lnTo>
                  <a:cubicBezTo>
                    <a:pt x="0" y="664"/>
                    <a:pt x="11" y="675"/>
                    <a:pt x="25" y="675"/>
                  </a:cubicBezTo>
                  <a:lnTo>
                    <a:pt x="150" y="675"/>
                  </a:lnTo>
                  <a:cubicBezTo>
                    <a:pt x="160" y="721"/>
                    <a:pt x="179" y="765"/>
                    <a:pt x="204" y="805"/>
                  </a:cubicBezTo>
                  <a:lnTo>
                    <a:pt x="115" y="893"/>
                  </a:lnTo>
                  <a:cubicBezTo>
                    <a:pt x="106" y="903"/>
                    <a:pt x="106" y="919"/>
                    <a:pt x="115" y="929"/>
                  </a:cubicBezTo>
                  <a:lnTo>
                    <a:pt x="221" y="1035"/>
                  </a:lnTo>
                  <a:cubicBezTo>
                    <a:pt x="231" y="1044"/>
                    <a:pt x="247" y="1044"/>
                    <a:pt x="257" y="1035"/>
                  </a:cubicBezTo>
                  <a:lnTo>
                    <a:pt x="345" y="947"/>
                  </a:lnTo>
                  <a:cubicBezTo>
                    <a:pt x="385" y="971"/>
                    <a:pt x="429" y="990"/>
                    <a:pt x="475" y="1000"/>
                  </a:cubicBezTo>
                  <a:lnTo>
                    <a:pt x="475" y="1125"/>
                  </a:lnTo>
                  <a:cubicBezTo>
                    <a:pt x="475" y="1139"/>
                    <a:pt x="486" y="1150"/>
                    <a:pt x="500" y="1150"/>
                  </a:cubicBezTo>
                  <a:lnTo>
                    <a:pt x="650" y="1150"/>
                  </a:lnTo>
                  <a:cubicBezTo>
                    <a:pt x="664" y="1150"/>
                    <a:pt x="675" y="1139"/>
                    <a:pt x="675" y="1125"/>
                  </a:cubicBezTo>
                  <a:lnTo>
                    <a:pt x="675" y="1000"/>
                  </a:lnTo>
                  <a:cubicBezTo>
                    <a:pt x="721" y="990"/>
                    <a:pt x="765" y="971"/>
                    <a:pt x="805" y="946"/>
                  </a:cubicBezTo>
                  <a:lnTo>
                    <a:pt x="893" y="1035"/>
                  </a:lnTo>
                  <a:cubicBezTo>
                    <a:pt x="903" y="1044"/>
                    <a:pt x="919" y="1044"/>
                    <a:pt x="929" y="1035"/>
                  </a:cubicBezTo>
                  <a:lnTo>
                    <a:pt x="1035" y="929"/>
                  </a:lnTo>
                  <a:cubicBezTo>
                    <a:pt x="1044" y="919"/>
                    <a:pt x="1044" y="903"/>
                    <a:pt x="1035" y="893"/>
                  </a:cubicBezTo>
                  <a:lnTo>
                    <a:pt x="947" y="805"/>
                  </a:lnTo>
                  <a:cubicBezTo>
                    <a:pt x="971" y="765"/>
                    <a:pt x="990" y="721"/>
                    <a:pt x="1001" y="675"/>
                  </a:cubicBezTo>
                  <a:lnTo>
                    <a:pt x="1125" y="675"/>
                  </a:lnTo>
                  <a:cubicBezTo>
                    <a:pt x="1139" y="675"/>
                    <a:pt x="1150" y="664"/>
                    <a:pt x="1150" y="650"/>
                  </a:cubicBezTo>
                  <a:lnTo>
                    <a:pt x="1150" y="500"/>
                  </a:lnTo>
                  <a:cubicBezTo>
                    <a:pt x="1150" y="486"/>
                    <a:pt x="1139" y="475"/>
                    <a:pt x="1125" y="475"/>
                  </a:cubicBezTo>
                  <a:lnTo>
                    <a:pt x="1001" y="475"/>
                  </a:lnTo>
                  <a:cubicBezTo>
                    <a:pt x="990" y="429"/>
                    <a:pt x="971" y="385"/>
                    <a:pt x="947" y="345"/>
                  </a:cubicBezTo>
                  <a:lnTo>
                    <a:pt x="1035" y="257"/>
                  </a:lnTo>
                  <a:cubicBezTo>
                    <a:pt x="1044" y="247"/>
                    <a:pt x="1044" y="231"/>
                    <a:pt x="1035" y="221"/>
                  </a:cubicBezTo>
                  <a:lnTo>
                    <a:pt x="929" y="115"/>
                  </a:lnTo>
                  <a:cubicBezTo>
                    <a:pt x="919" y="106"/>
                    <a:pt x="903" y="106"/>
                    <a:pt x="893" y="115"/>
                  </a:cubicBezTo>
                  <a:lnTo>
                    <a:pt x="805" y="203"/>
                  </a:lnTo>
                  <a:cubicBezTo>
                    <a:pt x="765" y="179"/>
                    <a:pt x="721" y="160"/>
                    <a:pt x="675" y="150"/>
                  </a:cubicBezTo>
                  <a:lnTo>
                    <a:pt x="675" y="25"/>
                  </a:lnTo>
                  <a:cubicBezTo>
                    <a:pt x="675" y="11"/>
                    <a:pt x="664" y="0"/>
                    <a:pt x="650" y="0"/>
                  </a:cubicBezTo>
                  <a:lnTo>
                    <a:pt x="500" y="0"/>
                  </a:lnTo>
                  <a:moveTo>
                    <a:pt x="577" y="413"/>
                  </a:moveTo>
                  <a:cubicBezTo>
                    <a:pt x="620" y="413"/>
                    <a:pt x="660" y="430"/>
                    <a:pt x="690" y="460"/>
                  </a:cubicBezTo>
                  <a:cubicBezTo>
                    <a:pt x="753" y="524"/>
                    <a:pt x="753" y="626"/>
                    <a:pt x="690" y="690"/>
                  </a:cubicBezTo>
                  <a:cubicBezTo>
                    <a:pt x="626" y="753"/>
                    <a:pt x="524" y="753"/>
                    <a:pt x="460" y="690"/>
                  </a:cubicBezTo>
                  <a:cubicBezTo>
                    <a:pt x="397" y="626"/>
                    <a:pt x="397" y="524"/>
                    <a:pt x="460" y="460"/>
                  </a:cubicBezTo>
                  <a:cubicBezTo>
                    <a:pt x="491" y="429"/>
                    <a:pt x="533" y="412"/>
                    <a:pt x="577" y="413"/>
                  </a:cubicBezTo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206777" tIns="103389" rIns="206777" bIns="103389" numCol="1" anchor="t" anchorCtr="0" compatLnSpc="1">
              <a:prstTxWarp prst="textNoShape">
                <a:avLst/>
              </a:prstTxWarp>
            </a:bodyPr>
            <a:lstStyle/>
            <a:p>
              <a:endParaRPr lang="en-US" sz="3166">
                <a:cs typeface="Segoe UI" panose="020B0502040204020203" pitchFamily="34" charset="0"/>
              </a:endParaRPr>
            </a:p>
          </p:txBody>
        </p:sp>
      </p:grpSp>
      <p:sp>
        <p:nvSpPr>
          <p:cNvPr id="133" name="Oval 132">
            <a:extLst>
              <a:ext uri="{FF2B5EF4-FFF2-40B4-BE49-F238E27FC236}">
                <a16:creationId xmlns:a16="http://schemas.microsoft.com/office/drawing/2014/main" id="{D4B0C29D-748F-E0C1-D979-66CBDB827C3E}"/>
              </a:ext>
            </a:extLst>
          </p:cNvPr>
          <p:cNvSpPr/>
          <p:nvPr/>
        </p:nvSpPr>
        <p:spPr>
          <a:xfrm>
            <a:off x="7711382" y="2796524"/>
            <a:ext cx="1076553" cy="1076553"/>
          </a:xfrm>
          <a:prstGeom prst="ellipse">
            <a:avLst/>
          </a:prstGeom>
          <a:noFill/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>
                <a:solidFill>
                  <a:srgbClr val="002060"/>
                </a:solidFill>
              </a:rPr>
              <a:t>01</a:t>
            </a: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E515B764-461F-C3B7-BEAA-53536FEA1670}"/>
              </a:ext>
            </a:extLst>
          </p:cNvPr>
          <p:cNvSpPr/>
          <p:nvPr/>
        </p:nvSpPr>
        <p:spPr>
          <a:xfrm>
            <a:off x="17953285" y="9852109"/>
            <a:ext cx="1076553" cy="1076553"/>
          </a:xfrm>
          <a:prstGeom prst="ellipse">
            <a:avLst/>
          </a:prstGeom>
          <a:noFill/>
          <a:ln w="7620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3FF59860-4D01-76BD-D978-888B2DA47E55}"/>
              </a:ext>
            </a:extLst>
          </p:cNvPr>
          <p:cNvSpPr txBox="1"/>
          <p:nvPr/>
        </p:nvSpPr>
        <p:spPr>
          <a:xfrm>
            <a:off x="5962653" y="2129022"/>
            <a:ext cx="45740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b="1">
                <a:solidFill>
                  <a:srgbClr val="002060"/>
                </a:solidFill>
              </a:rPr>
              <a:t>Unit Transformation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3A74A375-77F5-6FAA-CFAD-A09D641FA3D1}"/>
              </a:ext>
            </a:extLst>
          </p:cNvPr>
          <p:cNvSpPr txBox="1"/>
          <p:nvPr/>
        </p:nvSpPr>
        <p:spPr>
          <a:xfrm>
            <a:off x="17336276" y="9176284"/>
            <a:ext cx="23105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b="1">
                <a:solidFill>
                  <a:schemeClr val="accent2">
                    <a:lumMod val="50000"/>
                  </a:schemeClr>
                </a:solidFill>
              </a:rPr>
              <a:t>Initiatives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159402C-DA0F-5D82-0C87-D0DB4D6C629C}"/>
              </a:ext>
            </a:extLst>
          </p:cNvPr>
          <p:cNvGrpSpPr/>
          <p:nvPr/>
        </p:nvGrpSpPr>
        <p:grpSpPr>
          <a:xfrm>
            <a:off x="24150009" y="10000186"/>
            <a:ext cx="4261211" cy="3529718"/>
            <a:chOff x="24150009" y="10000186"/>
            <a:chExt cx="4261211" cy="3529718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70507A2C-A640-B09E-130B-5FE55C886DC0}"/>
                </a:ext>
              </a:extLst>
            </p:cNvPr>
            <p:cNvGrpSpPr/>
            <p:nvPr/>
          </p:nvGrpSpPr>
          <p:grpSpPr>
            <a:xfrm>
              <a:off x="24150009" y="11781416"/>
              <a:ext cx="4261211" cy="1748488"/>
              <a:chOff x="2903546" y="6480491"/>
              <a:chExt cx="2537914" cy="1072925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492C38C2-4F7D-F6EA-1715-ABDB2E40B2F4}"/>
                  </a:ext>
                </a:extLst>
              </p:cNvPr>
              <p:cNvSpPr txBox="1"/>
              <p:nvPr/>
            </p:nvSpPr>
            <p:spPr>
              <a:xfrm>
                <a:off x="3209108" y="6784752"/>
                <a:ext cx="2039469" cy="76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035" kern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Segoe UI" panose="020B0502040204020203" pitchFamily="34" charset="0"/>
                  </a:rPr>
                  <a:t>Review and measure success of solutions to apply continuous improvement principles.</a:t>
                </a: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F504DB97-D64B-066A-5E74-3B99AFAD62C0}"/>
                  </a:ext>
                </a:extLst>
              </p:cNvPr>
              <p:cNvSpPr txBox="1"/>
              <p:nvPr/>
            </p:nvSpPr>
            <p:spPr>
              <a:xfrm>
                <a:off x="2903546" y="6480491"/>
                <a:ext cx="2537914" cy="2348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algn="ctr"/>
                <a:r>
                  <a:rPr lang="en-US" sz="2487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Segoe UI"/>
                  </a:rPr>
                  <a:t>Continuous Improvement</a:t>
                </a:r>
                <a:endParaRPr lang="en-US" sz="2487" b="1" kern="0">
                  <a:solidFill>
                    <a:schemeClr val="tx1">
                      <a:lumMod val="75000"/>
                      <a:lumOff val="25000"/>
                    </a:schemeClr>
                  </a:solidFill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DA9A02C2-EA61-D7D4-32C4-482256DB4164}"/>
                </a:ext>
              </a:extLst>
            </p:cNvPr>
            <p:cNvSpPr/>
            <p:nvPr/>
          </p:nvSpPr>
          <p:spPr>
            <a:xfrm>
              <a:off x="25671205" y="10107269"/>
              <a:ext cx="1612955" cy="16137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sz="3166">
                <a:cs typeface="Segoe UI" panose="020B0502040204020203" pitchFamily="34" charset="0"/>
              </a:endParaRPr>
            </a:p>
          </p:txBody>
        </p:sp>
        <p:pic>
          <p:nvPicPr>
            <p:cNvPr id="101" name="Graphic 100" descr="Circular flowchart with solid fill">
              <a:extLst>
                <a:ext uri="{FF2B5EF4-FFF2-40B4-BE49-F238E27FC236}">
                  <a16:creationId xmlns:a16="http://schemas.microsoft.com/office/drawing/2014/main" id="{A3D9B30A-C728-0E7E-205A-38376BE36C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5591492" y="10000186"/>
              <a:ext cx="1716250" cy="17162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28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1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  <p:bldP spid="134" grpId="0" animBg="1"/>
      <p:bldP spid="138" grpId="0"/>
      <p:bldP spid="13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A629D41-0520-A522-6E3A-B5663E1C5D51}"/>
              </a:ext>
            </a:extLst>
          </p:cNvPr>
          <p:cNvGrpSpPr/>
          <p:nvPr/>
        </p:nvGrpSpPr>
        <p:grpSpPr>
          <a:xfrm>
            <a:off x="7225969" y="1290722"/>
            <a:ext cx="16254726" cy="2625666"/>
            <a:chOff x="7225969" y="1290722"/>
            <a:chExt cx="16254726" cy="2625666"/>
          </a:xfrm>
        </p:grpSpPr>
        <p:sp>
          <p:nvSpPr>
            <p:cNvPr id="51" name="Isosceles Triangle 50">
              <a:hlinkClick r:id="rId3"/>
              <a:extLst>
                <a:ext uri="{FF2B5EF4-FFF2-40B4-BE49-F238E27FC236}">
                  <a16:creationId xmlns:a16="http://schemas.microsoft.com/office/drawing/2014/main" id="{834824FE-549C-8B16-ECE6-DC930876B737}"/>
                </a:ext>
              </a:extLst>
            </p:cNvPr>
            <p:cNvSpPr/>
            <p:nvPr/>
          </p:nvSpPr>
          <p:spPr>
            <a:xfrm>
              <a:off x="7225969" y="1290722"/>
              <a:ext cx="16254726" cy="2625666"/>
            </a:xfrm>
            <a:prstGeom prst="triangle">
              <a:avLst>
                <a:gd name="adj" fmla="val 50663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800" b="1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B295A3F7-058A-E41E-0E1D-D02CB7CA2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787867" y="2677665"/>
              <a:ext cx="1107751" cy="972568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9341762-DF1E-B552-B71D-65E754A7714B}"/>
                </a:ext>
              </a:extLst>
            </p:cNvPr>
            <p:cNvSpPr txBox="1"/>
            <p:nvPr/>
          </p:nvSpPr>
          <p:spPr>
            <a:xfrm>
              <a:off x="13176894" y="2073395"/>
              <a:ext cx="467130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igital Transformation </a:t>
              </a:r>
              <a:r>
                <a:rPr lang="en-US" sz="28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forming our Department, Unit by Unit</a:t>
              </a:r>
            </a:p>
          </p:txBody>
        </p:sp>
        <p:pic>
          <p:nvPicPr>
            <p:cNvPr id="60" name="Picture 2" descr="Port Authority of New York and New Jersey - Wikipedia">
              <a:extLst>
                <a:ext uri="{FF2B5EF4-FFF2-40B4-BE49-F238E27FC236}">
                  <a16:creationId xmlns:a16="http://schemas.microsoft.com/office/drawing/2014/main" id="{757BEAE3-9CAA-C346-35C6-379130425F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0208" y="2812788"/>
              <a:ext cx="1696355" cy="8337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9554626-EA92-BBBD-06BF-7E816A03D351}"/>
              </a:ext>
            </a:extLst>
          </p:cNvPr>
          <p:cNvGrpSpPr/>
          <p:nvPr/>
        </p:nvGrpSpPr>
        <p:grpSpPr>
          <a:xfrm>
            <a:off x="11391237" y="4108659"/>
            <a:ext cx="3758922" cy="5620102"/>
            <a:chOff x="11391237" y="4108659"/>
            <a:chExt cx="3758922" cy="5620102"/>
          </a:xfrm>
        </p:grpSpPr>
        <p:sp>
          <p:nvSpPr>
            <p:cNvPr id="57" name="Rectangle 56">
              <a:hlinkClick r:id="rId6"/>
              <a:extLst>
                <a:ext uri="{FF2B5EF4-FFF2-40B4-BE49-F238E27FC236}">
                  <a16:creationId xmlns:a16="http://schemas.microsoft.com/office/drawing/2014/main" id="{DF762735-1BB0-862F-3641-48318A83597F}"/>
                </a:ext>
              </a:extLst>
            </p:cNvPr>
            <p:cNvSpPr/>
            <p:nvPr/>
          </p:nvSpPr>
          <p:spPr>
            <a:xfrm>
              <a:off x="11391237" y="4108659"/>
              <a:ext cx="3758922" cy="56201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Project Delivery Systems</a:t>
              </a:r>
            </a:p>
          </p:txBody>
        </p:sp>
        <p:pic>
          <p:nvPicPr>
            <p:cNvPr id="64" name="Graphic 63" descr="Continuous Improvement with solid fill">
              <a:extLst>
                <a:ext uri="{FF2B5EF4-FFF2-40B4-BE49-F238E27FC236}">
                  <a16:creationId xmlns:a16="http://schemas.microsoft.com/office/drawing/2014/main" id="{7DEF94A1-F1C5-8BA4-432C-B61DFC1F96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1550493" y="4139296"/>
              <a:ext cx="1216882" cy="121688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DF3DF37-1161-22D5-69C4-5A1248BFC2F8}"/>
              </a:ext>
            </a:extLst>
          </p:cNvPr>
          <p:cNvGrpSpPr/>
          <p:nvPr/>
        </p:nvGrpSpPr>
        <p:grpSpPr>
          <a:xfrm>
            <a:off x="19721773" y="4108659"/>
            <a:ext cx="3758922" cy="5620102"/>
            <a:chOff x="19721773" y="4108659"/>
            <a:chExt cx="3758922" cy="5620102"/>
          </a:xfrm>
        </p:grpSpPr>
        <p:sp>
          <p:nvSpPr>
            <p:cNvPr id="56" name="Rectangle 55">
              <a:hlinkClick r:id="rId9"/>
              <a:extLst>
                <a:ext uri="{FF2B5EF4-FFF2-40B4-BE49-F238E27FC236}">
                  <a16:creationId xmlns:a16="http://schemas.microsoft.com/office/drawing/2014/main" id="{B5ED9502-1094-6DC4-8CBC-8265408B4A0A}"/>
                </a:ext>
              </a:extLst>
            </p:cNvPr>
            <p:cNvSpPr/>
            <p:nvPr/>
          </p:nvSpPr>
          <p:spPr>
            <a:xfrm>
              <a:off x="19721773" y="4108659"/>
              <a:ext cx="3758922" cy="56201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Program and   </a:t>
              </a:r>
            </a:p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Project Portal</a:t>
              </a:r>
            </a:p>
          </p:txBody>
        </p:sp>
        <p:pic>
          <p:nvPicPr>
            <p:cNvPr id="65" name="Graphic 64" descr="Internet Of Things with solid fill">
              <a:extLst>
                <a:ext uri="{FF2B5EF4-FFF2-40B4-BE49-F238E27FC236}">
                  <a16:creationId xmlns:a16="http://schemas.microsoft.com/office/drawing/2014/main" id="{72571CE0-3B46-8FEE-80C6-707B6B38F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021442" y="4204140"/>
              <a:ext cx="1124712" cy="1124712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11B5AC8-F9EE-541E-ABEF-27515A0868B6}"/>
              </a:ext>
            </a:extLst>
          </p:cNvPr>
          <p:cNvGrpSpPr/>
          <p:nvPr/>
        </p:nvGrpSpPr>
        <p:grpSpPr>
          <a:xfrm>
            <a:off x="7225969" y="11151757"/>
            <a:ext cx="16254726" cy="980302"/>
            <a:chOff x="7225969" y="11151757"/>
            <a:chExt cx="16254726" cy="980302"/>
          </a:xfrm>
        </p:grpSpPr>
        <p:sp>
          <p:nvSpPr>
            <p:cNvPr id="53" name="Rectangle 52">
              <a:hlinkClick r:id="rId12"/>
              <a:extLst>
                <a:ext uri="{FF2B5EF4-FFF2-40B4-BE49-F238E27FC236}">
                  <a16:creationId xmlns:a16="http://schemas.microsoft.com/office/drawing/2014/main" id="{F61F79B4-E65A-73C7-4853-493C7BB97AD6}"/>
                </a:ext>
              </a:extLst>
            </p:cNvPr>
            <p:cNvSpPr/>
            <p:nvPr/>
          </p:nvSpPr>
          <p:spPr>
            <a:xfrm>
              <a:off x="7225969" y="11151757"/>
              <a:ext cx="16254726" cy="980302"/>
            </a:xfrm>
            <a:prstGeom prst="rect">
              <a:avLst/>
            </a:prstGeom>
            <a:solidFill>
              <a:schemeClr val="accent6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Technology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D4A840D-16C9-169A-45D5-2681DF01016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986283" y="11184816"/>
              <a:ext cx="915160" cy="915160"/>
              <a:chOff x="23762103" y="4450524"/>
              <a:chExt cx="4941589" cy="4941589"/>
            </a:xfrm>
          </p:grpSpPr>
          <p:pic>
            <p:nvPicPr>
              <p:cNvPr id="68" name="Graphic 67" descr="Connections with solid fill">
                <a:extLst>
                  <a:ext uri="{FF2B5EF4-FFF2-40B4-BE49-F238E27FC236}">
                    <a16:creationId xmlns:a16="http://schemas.microsoft.com/office/drawing/2014/main" id="{F1FB35A5-50D8-5F06-5212-26E3BE35E5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5EE69B5-D586-E162-E074-9B48AF98BFAA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D1008C51-3C03-3C38-2767-BA5E1D0EBA42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0A32A0F-F20C-540D-DB18-03FB52FAD5F1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92EADE4F-BD60-F41B-6E85-5D31367E8E46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75AC958-0DD5-410E-C6AA-B809349E9A27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633140A4-83C3-8882-3BF6-444E068F5093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76" name="Graphic 75" descr="Ui Ux with solid fill">
                <a:extLst>
                  <a:ext uri="{FF2B5EF4-FFF2-40B4-BE49-F238E27FC236}">
                    <a16:creationId xmlns:a16="http://schemas.microsoft.com/office/drawing/2014/main" id="{C09BC78B-CC0B-FE78-4789-A43AD3664F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78" name="Graphic 77" descr="User with solid fill">
                <a:extLst>
                  <a:ext uri="{FF2B5EF4-FFF2-40B4-BE49-F238E27FC236}">
                    <a16:creationId xmlns:a16="http://schemas.microsoft.com/office/drawing/2014/main" id="{7A376D6C-F6E6-F606-FB80-596711EFD4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79" name="Graphic 78" descr="Wi-Fi with solid fill">
                <a:extLst>
                  <a:ext uri="{FF2B5EF4-FFF2-40B4-BE49-F238E27FC236}">
                    <a16:creationId xmlns:a16="http://schemas.microsoft.com/office/drawing/2014/main" id="{30182453-1942-DEBE-1193-15357F65D7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81" name="Graphic 80" descr="User with solid fill">
                <a:extLst>
                  <a:ext uri="{FF2B5EF4-FFF2-40B4-BE49-F238E27FC236}">
                    <a16:creationId xmlns:a16="http://schemas.microsoft.com/office/drawing/2014/main" id="{C039C49C-3E9B-B2CC-81F2-C997771159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82" name="Graphic 81" descr="User with solid fill">
                <a:extLst>
                  <a:ext uri="{FF2B5EF4-FFF2-40B4-BE49-F238E27FC236}">
                    <a16:creationId xmlns:a16="http://schemas.microsoft.com/office/drawing/2014/main" id="{6BD14358-420B-A9C0-82E2-8547E332A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90" name="Graphic 89" descr="User with solid fill">
                <a:extLst>
                  <a:ext uri="{FF2B5EF4-FFF2-40B4-BE49-F238E27FC236}">
                    <a16:creationId xmlns:a16="http://schemas.microsoft.com/office/drawing/2014/main" id="{CC8B9514-BEFE-A273-DF8F-F1B332855A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34888F4-B8F2-964B-F59B-C471E7F43451}"/>
              </a:ext>
            </a:extLst>
          </p:cNvPr>
          <p:cNvGrpSpPr/>
          <p:nvPr/>
        </p:nvGrpSpPr>
        <p:grpSpPr>
          <a:xfrm>
            <a:off x="7225968" y="12324331"/>
            <a:ext cx="16254726" cy="980301"/>
            <a:chOff x="7225968" y="12324331"/>
            <a:chExt cx="16254726" cy="980301"/>
          </a:xfrm>
        </p:grpSpPr>
        <p:sp>
          <p:nvSpPr>
            <p:cNvPr id="62" name="Rectangle 61">
              <a:hlinkClick r:id="rId21"/>
              <a:extLst>
                <a:ext uri="{FF2B5EF4-FFF2-40B4-BE49-F238E27FC236}">
                  <a16:creationId xmlns:a16="http://schemas.microsoft.com/office/drawing/2014/main" id="{FD01A9F7-E3F8-C21D-EECB-7787B96B15E7}"/>
                </a:ext>
              </a:extLst>
            </p:cNvPr>
            <p:cNvSpPr/>
            <p:nvPr/>
          </p:nvSpPr>
          <p:spPr>
            <a:xfrm>
              <a:off x="7225968" y="12324331"/>
              <a:ext cx="16254726" cy="980301"/>
            </a:xfrm>
            <a:prstGeom prst="rect">
              <a:avLst/>
            </a:prstGeom>
            <a:solidFill>
              <a:schemeClr val="accent6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Data</a:t>
              </a:r>
            </a:p>
          </p:txBody>
        </p:sp>
        <p:pic>
          <p:nvPicPr>
            <p:cNvPr id="91" name="Graphic 90" descr="Bar chart with solid fill">
              <a:extLst>
                <a:ext uri="{FF2B5EF4-FFF2-40B4-BE49-F238E27FC236}">
                  <a16:creationId xmlns:a16="http://schemas.microsoft.com/office/drawing/2014/main" id="{1B3453A4-E307-0948-4D77-BC70DFBC7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/>
          </p:blipFill>
          <p:spPr>
            <a:xfrm>
              <a:off x="8032031" y="12368902"/>
              <a:ext cx="736768" cy="736768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EC2FBA4-2D76-0634-0BDA-60D781DD6DC5}"/>
              </a:ext>
            </a:extLst>
          </p:cNvPr>
          <p:cNvGrpSpPr/>
          <p:nvPr/>
        </p:nvGrpSpPr>
        <p:grpSpPr>
          <a:xfrm>
            <a:off x="7225969" y="9923338"/>
            <a:ext cx="16254726" cy="1036148"/>
            <a:chOff x="7225969" y="9923338"/>
            <a:chExt cx="16254726" cy="1036148"/>
          </a:xfrm>
        </p:grpSpPr>
        <p:sp>
          <p:nvSpPr>
            <p:cNvPr id="54" name="Rectangle 53">
              <a:hlinkClick r:id="rId24"/>
              <a:extLst>
                <a:ext uri="{FF2B5EF4-FFF2-40B4-BE49-F238E27FC236}">
                  <a16:creationId xmlns:a16="http://schemas.microsoft.com/office/drawing/2014/main" id="{B1745724-CE24-9FBD-6DD6-D6E0F7C327BD}"/>
                </a:ext>
              </a:extLst>
            </p:cNvPr>
            <p:cNvSpPr/>
            <p:nvPr/>
          </p:nvSpPr>
          <p:spPr>
            <a:xfrm>
              <a:off x="7225969" y="9979184"/>
              <a:ext cx="16254726" cy="980302"/>
            </a:xfrm>
            <a:prstGeom prst="rect">
              <a:avLst/>
            </a:prstGeom>
            <a:solidFill>
              <a:schemeClr val="accent6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Processes, Procedures, Roles and Responsibilities</a:t>
              </a:r>
            </a:p>
          </p:txBody>
        </p:sp>
        <p:pic>
          <p:nvPicPr>
            <p:cNvPr id="92" name="Graphic 91" descr="Circles with arrows with solid fill">
              <a:extLst>
                <a:ext uri="{FF2B5EF4-FFF2-40B4-BE49-F238E27FC236}">
                  <a16:creationId xmlns:a16="http://schemas.microsoft.com/office/drawing/2014/main" id="{06302D93-9C1B-72FC-C480-C3B6BA30D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7984352" y="9923338"/>
              <a:ext cx="1033272" cy="1033272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1ADCA20-7035-DD3C-92F9-EB8C24B4866C}"/>
              </a:ext>
            </a:extLst>
          </p:cNvPr>
          <p:cNvGrpSpPr/>
          <p:nvPr/>
        </p:nvGrpSpPr>
        <p:grpSpPr>
          <a:xfrm>
            <a:off x="7225968" y="4108659"/>
            <a:ext cx="3758922" cy="5620102"/>
            <a:chOff x="7225968" y="4108659"/>
            <a:chExt cx="3758922" cy="5620102"/>
          </a:xfrm>
        </p:grpSpPr>
        <p:sp>
          <p:nvSpPr>
            <p:cNvPr id="55" name="Rectangle 54">
              <a:hlinkClick r:id="rId27"/>
              <a:extLst>
                <a:ext uri="{FF2B5EF4-FFF2-40B4-BE49-F238E27FC236}">
                  <a16:creationId xmlns:a16="http://schemas.microsoft.com/office/drawing/2014/main" id="{2C0888C6-1AD2-1A60-0B04-113CA07F583E}"/>
                </a:ext>
              </a:extLst>
            </p:cNvPr>
            <p:cNvSpPr/>
            <p:nvPr/>
          </p:nvSpPr>
          <p:spPr>
            <a:xfrm>
              <a:off x="7225968" y="4108659"/>
              <a:ext cx="3758922" cy="56201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Geospatial</a:t>
              </a:r>
            </a:p>
          </p:txBody>
        </p:sp>
        <p:pic>
          <p:nvPicPr>
            <p:cNvPr id="93" name="Graphic 92" descr="Map with pin with solid fill">
              <a:extLst>
                <a:ext uri="{FF2B5EF4-FFF2-40B4-BE49-F238E27FC236}">
                  <a16:creationId xmlns:a16="http://schemas.microsoft.com/office/drawing/2014/main" id="{837D5F2A-7577-9AC5-2F33-ED1A2624C0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7557809" y="4227000"/>
              <a:ext cx="1078992" cy="1078992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D35CA7B-29EC-7284-552C-EE2F767CF93B}"/>
              </a:ext>
            </a:extLst>
          </p:cNvPr>
          <p:cNvGrpSpPr/>
          <p:nvPr/>
        </p:nvGrpSpPr>
        <p:grpSpPr>
          <a:xfrm>
            <a:off x="15556505" y="4108659"/>
            <a:ext cx="3758922" cy="5620102"/>
            <a:chOff x="15556505" y="4108659"/>
            <a:chExt cx="3758922" cy="5620102"/>
          </a:xfrm>
        </p:grpSpPr>
        <p:sp>
          <p:nvSpPr>
            <p:cNvPr id="58" name="Rectangle 57">
              <a:hlinkClick r:id="rId30"/>
              <a:extLst>
                <a:ext uri="{FF2B5EF4-FFF2-40B4-BE49-F238E27FC236}">
                  <a16:creationId xmlns:a16="http://schemas.microsoft.com/office/drawing/2014/main" id="{A8919D2E-311B-C703-2D43-75ACDF5CB28E}"/>
                </a:ext>
              </a:extLst>
            </p:cNvPr>
            <p:cNvSpPr/>
            <p:nvPr/>
          </p:nvSpPr>
          <p:spPr>
            <a:xfrm>
              <a:off x="15556505" y="4108659"/>
              <a:ext cx="3758922" cy="56201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Virtual Design and </a:t>
              </a:r>
            </a:p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Construction</a:t>
              </a:r>
            </a:p>
          </p:txBody>
        </p:sp>
        <p:pic>
          <p:nvPicPr>
            <p:cNvPr id="94" name="Graphic 93" descr="Illustrator outline">
              <a:extLst>
                <a:ext uri="{FF2B5EF4-FFF2-40B4-BE49-F238E27FC236}">
                  <a16:creationId xmlns:a16="http://schemas.microsoft.com/office/drawing/2014/main" id="{4A1C64BB-E8BC-C363-72C4-F81426D93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15944850" y="4193115"/>
              <a:ext cx="1069848" cy="106984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2D63914-17FB-AD8C-ED2A-F028F9B07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Operating Model</a:t>
            </a:r>
          </a:p>
        </p:txBody>
      </p:sp>
    </p:spTree>
    <p:extLst>
      <p:ext uri="{BB962C8B-B14F-4D97-AF65-F5344CB8AC3E}">
        <p14:creationId xmlns:p14="http://schemas.microsoft.com/office/powerpoint/2010/main" val="3596521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2399A7-D4FE-4C53-ABB2-FCA9A818A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Communications</a:t>
            </a:r>
            <a:endParaRPr lang="en-US" b="1" dirty="0">
              <a:latin typeface="+mj-lt"/>
            </a:endParaRPr>
          </a:p>
        </p:txBody>
      </p:sp>
      <p:pic>
        <p:nvPicPr>
          <p:cNvPr id="42" name="Picture 41">
            <a:hlinkClick r:id="rId3"/>
            <a:extLst>
              <a:ext uri="{FF2B5EF4-FFF2-40B4-BE49-F238E27FC236}">
                <a16:creationId xmlns:a16="http://schemas.microsoft.com/office/drawing/2014/main" id="{059C66C0-DCB4-36E1-2B5E-341AFBDA46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352" y="2647030"/>
            <a:ext cx="7885020" cy="1021422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E2CB9B1-1754-9A7D-2221-D635382772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3962" y="3086205"/>
            <a:ext cx="6755965" cy="868501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9BAAC82-BEF1-ABB5-BCAA-DCF360DADF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96517" y="4059663"/>
            <a:ext cx="13622215" cy="738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728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4A36F-A654-4A3D-9D98-06B8AE028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1000" dirty="0">
                <a:latin typeface="+mj-lt"/>
              </a:rPr>
              <a:t>03. The Application and Results (So far)</a:t>
            </a:r>
          </a:p>
        </p:txBody>
      </p:sp>
    </p:spTree>
    <p:extLst>
      <p:ext uri="{BB962C8B-B14F-4D97-AF65-F5344CB8AC3E}">
        <p14:creationId xmlns:p14="http://schemas.microsoft.com/office/powerpoint/2010/main" val="6664108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8AF0CF-C8F0-14FB-FDA4-9EFB688A8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16164811" cy="1447442"/>
          </a:xfrm>
        </p:spPr>
        <p:txBody>
          <a:bodyPr/>
          <a:lstStyle/>
          <a:p>
            <a:r>
              <a:rPr lang="en-US">
                <a:latin typeface="Segoe UI" panose="020B0502040204020203" pitchFamily="34" charset="0"/>
                <a:cs typeface="Segoe UI" panose="020B0502040204020203" pitchFamily="34" charset="0"/>
              </a:rPr>
              <a:t>Unit Transformation Sprints</a:t>
            </a:r>
          </a:p>
        </p:txBody>
      </p:sp>
      <p:sp>
        <p:nvSpPr>
          <p:cNvPr id="18" name="OTLSHAPE_TB_00000000000000000000000000000000_TimescaleInterval1">
            <a:extLst>
              <a:ext uri="{FF2B5EF4-FFF2-40B4-BE49-F238E27FC236}">
                <a16:creationId xmlns:a16="http://schemas.microsoft.com/office/drawing/2014/main" id="{9D29ABD8-4DDD-D836-6618-6D691DC61A71}"/>
              </a:ext>
            </a:extLst>
          </p:cNvPr>
          <p:cNvSpPr txBox="1"/>
          <p:nvPr/>
        </p:nvSpPr>
        <p:spPr>
          <a:xfrm>
            <a:off x="4953001" y="4032043"/>
            <a:ext cx="2079204" cy="49048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400" b="1" spc="-2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hort Term: 0 – 6 months</a:t>
            </a:r>
          </a:p>
        </p:txBody>
      </p:sp>
      <p:sp>
        <p:nvSpPr>
          <p:cNvPr id="20" name="OTLSHAPE_TB_00000000000000000000000000000000_TimescaleInterval3">
            <a:extLst>
              <a:ext uri="{FF2B5EF4-FFF2-40B4-BE49-F238E27FC236}">
                <a16:creationId xmlns:a16="http://schemas.microsoft.com/office/drawing/2014/main" id="{01A8A5B6-F91A-3C24-5282-F6D79D134B9B}"/>
              </a:ext>
            </a:extLst>
          </p:cNvPr>
          <p:cNvSpPr txBox="1"/>
          <p:nvPr/>
        </p:nvSpPr>
        <p:spPr>
          <a:xfrm>
            <a:off x="21240751" y="4032043"/>
            <a:ext cx="2966920" cy="49048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400" b="1" spc="-2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ong Term: &gt; 12 months</a:t>
            </a:r>
          </a:p>
        </p:txBody>
      </p:sp>
      <p:sp>
        <p:nvSpPr>
          <p:cNvPr id="26" name="OTLSHAPE_TB_00000000000000000000000000000000_TimescaleInterval1">
            <a:extLst>
              <a:ext uri="{FF2B5EF4-FFF2-40B4-BE49-F238E27FC236}">
                <a16:creationId xmlns:a16="http://schemas.microsoft.com/office/drawing/2014/main" id="{EEDE1DBD-E0AE-D188-FAE7-7865BDA5B371}"/>
              </a:ext>
            </a:extLst>
          </p:cNvPr>
          <p:cNvSpPr txBox="1"/>
          <p:nvPr/>
        </p:nvSpPr>
        <p:spPr>
          <a:xfrm>
            <a:off x="13430251" y="4032043"/>
            <a:ext cx="2239838" cy="49048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4400" b="1" spc="-20">
                <a:solidFill>
                  <a:schemeClr val="l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dium Term: 6 - 18 months</a:t>
            </a:r>
          </a:p>
        </p:txBody>
      </p:sp>
      <p:sp>
        <p:nvSpPr>
          <p:cNvPr id="64" name="OTLSHAPE_TB_00000000000000000000000000000000_ScaleContainer">
            <a:extLst>
              <a:ext uri="{FF2B5EF4-FFF2-40B4-BE49-F238E27FC236}">
                <a16:creationId xmlns:a16="http://schemas.microsoft.com/office/drawing/2014/main" id="{F01D7AA9-3A38-01B9-0BCC-CE3F5220B52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29147" y="3949483"/>
            <a:ext cx="29260800" cy="658387"/>
          </a:xfrm>
          <a:prstGeom prst="homePlate">
            <a:avLst/>
          </a:prstGeom>
          <a:solidFill>
            <a:schemeClr val="bg2">
              <a:lumMod val="5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b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BFB60B8-09C1-394F-983E-C4E50323693B}"/>
              </a:ext>
            </a:extLst>
          </p:cNvPr>
          <p:cNvSpPr/>
          <p:nvPr/>
        </p:nvSpPr>
        <p:spPr>
          <a:xfrm>
            <a:off x="1129147" y="3949482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B968BAE-64A6-E58F-DD53-E6629C903181}"/>
              </a:ext>
            </a:extLst>
          </p:cNvPr>
          <p:cNvSpPr/>
          <p:nvPr/>
        </p:nvSpPr>
        <p:spPr>
          <a:xfrm>
            <a:off x="2957947" y="3949481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88B4801-47F5-ED55-CAF6-BD7DD80EE0E0}"/>
              </a:ext>
            </a:extLst>
          </p:cNvPr>
          <p:cNvSpPr/>
          <p:nvPr/>
        </p:nvSpPr>
        <p:spPr>
          <a:xfrm>
            <a:off x="4786747" y="3949481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6752730-C880-6DA6-0C25-CFCF6A26A91E}"/>
              </a:ext>
            </a:extLst>
          </p:cNvPr>
          <p:cNvSpPr/>
          <p:nvPr/>
        </p:nvSpPr>
        <p:spPr>
          <a:xfrm>
            <a:off x="6615547" y="3949480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6CFB490-ED1D-191F-7244-0999D6930C1C}"/>
              </a:ext>
            </a:extLst>
          </p:cNvPr>
          <p:cNvSpPr/>
          <p:nvPr/>
        </p:nvSpPr>
        <p:spPr>
          <a:xfrm>
            <a:off x="8444347" y="3949480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69C2CEF-4FDE-83C7-0FA5-A4F1180AADE1}"/>
              </a:ext>
            </a:extLst>
          </p:cNvPr>
          <p:cNvSpPr/>
          <p:nvPr/>
        </p:nvSpPr>
        <p:spPr>
          <a:xfrm>
            <a:off x="10273147" y="3949479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AA540BE9-2B8D-13CE-F0B0-701A3C21AF91}"/>
              </a:ext>
            </a:extLst>
          </p:cNvPr>
          <p:cNvSpPr/>
          <p:nvPr/>
        </p:nvSpPr>
        <p:spPr>
          <a:xfrm>
            <a:off x="12101947" y="3949479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37587D5-6CBF-A957-5799-BCB38DD3CC37}"/>
              </a:ext>
            </a:extLst>
          </p:cNvPr>
          <p:cNvSpPr/>
          <p:nvPr/>
        </p:nvSpPr>
        <p:spPr>
          <a:xfrm>
            <a:off x="13930747" y="3949478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44E5835-8C8F-FE6B-3A19-55C9F2697220}"/>
              </a:ext>
            </a:extLst>
          </p:cNvPr>
          <p:cNvSpPr/>
          <p:nvPr/>
        </p:nvSpPr>
        <p:spPr>
          <a:xfrm>
            <a:off x="15759547" y="3949480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E3A4922-AE94-2DC0-E1D1-368CB6D45C26}"/>
              </a:ext>
            </a:extLst>
          </p:cNvPr>
          <p:cNvSpPr/>
          <p:nvPr/>
        </p:nvSpPr>
        <p:spPr>
          <a:xfrm>
            <a:off x="17588347" y="3949479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899554D-9E15-1413-F67F-AA41CB602A56}"/>
              </a:ext>
            </a:extLst>
          </p:cNvPr>
          <p:cNvSpPr/>
          <p:nvPr/>
        </p:nvSpPr>
        <p:spPr>
          <a:xfrm>
            <a:off x="19417147" y="3949479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11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03F10AA-0BE7-6034-E87D-26A2BFA6A692}"/>
              </a:ext>
            </a:extLst>
          </p:cNvPr>
          <p:cNvSpPr/>
          <p:nvPr/>
        </p:nvSpPr>
        <p:spPr>
          <a:xfrm>
            <a:off x="21245947" y="3949478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B262E06-CB18-7540-E863-B1557E35EFAE}"/>
              </a:ext>
            </a:extLst>
          </p:cNvPr>
          <p:cNvSpPr/>
          <p:nvPr/>
        </p:nvSpPr>
        <p:spPr>
          <a:xfrm>
            <a:off x="23074747" y="3949474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C23A82D-F406-5A19-61D1-BF0C1DD439EC}"/>
              </a:ext>
            </a:extLst>
          </p:cNvPr>
          <p:cNvSpPr/>
          <p:nvPr/>
        </p:nvSpPr>
        <p:spPr>
          <a:xfrm>
            <a:off x="24903547" y="3949473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2D36796-2528-7F61-BE85-6C2CC31792E5}"/>
              </a:ext>
            </a:extLst>
          </p:cNvPr>
          <p:cNvSpPr/>
          <p:nvPr/>
        </p:nvSpPr>
        <p:spPr>
          <a:xfrm>
            <a:off x="26732347" y="3949473"/>
            <a:ext cx="1828800" cy="658387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latin typeface="Segoe UI" panose="020B0502040204020203" pitchFamily="34" charset="0"/>
                <a:cs typeface="Segoe UI" panose="020B0502040204020203" pitchFamily="34" charset="0"/>
              </a:rPr>
              <a:t>15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67F6D1D-6333-2878-07EC-4CC7C9B6D7A2}"/>
              </a:ext>
            </a:extLst>
          </p:cNvPr>
          <p:cNvSpPr/>
          <p:nvPr/>
        </p:nvSpPr>
        <p:spPr>
          <a:xfrm>
            <a:off x="28561147" y="3949472"/>
            <a:ext cx="1828800" cy="65838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>
                <a:solidFill>
                  <a:srgbClr val="022DB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2E74A9-74EC-E564-4F52-5BEC3BFC2428}"/>
              </a:ext>
            </a:extLst>
          </p:cNvPr>
          <p:cNvGrpSpPr/>
          <p:nvPr/>
        </p:nvGrpSpPr>
        <p:grpSpPr>
          <a:xfrm>
            <a:off x="1151525" y="4923104"/>
            <a:ext cx="19346276" cy="523220"/>
            <a:chOff x="1151525" y="4923104"/>
            <a:chExt cx="19346276" cy="523220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75CCA1A-D736-8AFA-A8E6-3FF43DAA1A51}"/>
                </a:ext>
              </a:extLst>
            </p:cNvPr>
            <p:cNvCxnSpPr>
              <a:cxnSpLocks/>
            </p:cNvCxnSpPr>
            <p:nvPr/>
          </p:nvCxnSpPr>
          <p:spPr>
            <a:xfrm>
              <a:off x="1151525" y="5178402"/>
              <a:ext cx="3376932" cy="12624"/>
            </a:xfrm>
            <a:prstGeom prst="line">
              <a:avLst/>
            </a:prstGeom>
            <a:ln w="57150"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C9630EF-C592-D483-EC84-2008D74E9614}"/>
                </a:ext>
              </a:extLst>
            </p:cNvPr>
            <p:cNvSpPr txBox="1"/>
            <p:nvPr/>
          </p:nvSpPr>
          <p:spPr>
            <a:xfrm>
              <a:off x="4953001" y="4923104"/>
              <a:ext cx="155448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Stakeholder analysis and service outcome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AA5A0A-4A82-8DCC-32BA-C0C4CC818130}"/>
              </a:ext>
            </a:extLst>
          </p:cNvPr>
          <p:cNvGrpSpPr/>
          <p:nvPr/>
        </p:nvGrpSpPr>
        <p:grpSpPr>
          <a:xfrm>
            <a:off x="3074475" y="5723316"/>
            <a:ext cx="19398439" cy="523220"/>
            <a:chOff x="3074475" y="5743591"/>
            <a:chExt cx="19398439" cy="523220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E6BA11B-9CEE-D523-2E9E-0F2D06475747}"/>
                </a:ext>
              </a:extLst>
            </p:cNvPr>
            <p:cNvSpPr txBox="1"/>
            <p:nvPr/>
          </p:nvSpPr>
          <p:spPr>
            <a:xfrm>
              <a:off x="6928114" y="5743591"/>
              <a:ext cx="155448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Process and technology discovery</a:t>
              </a:r>
            </a:p>
          </p:txBody>
        </p: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8668349F-A6DE-F1FB-B1CD-C7DF0DC27AD3}"/>
                </a:ext>
              </a:extLst>
            </p:cNvPr>
            <p:cNvCxnSpPr>
              <a:cxnSpLocks/>
            </p:cNvCxnSpPr>
            <p:nvPr/>
          </p:nvCxnSpPr>
          <p:spPr>
            <a:xfrm>
              <a:off x="3074475" y="5998889"/>
              <a:ext cx="3376932" cy="12624"/>
            </a:xfrm>
            <a:prstGeom prst="line">
              <a:avLst/>
            </a:prstGeom>
            <a:ln w="57150"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2A070E9-016A-ABBB-C6EB-FB0C5B52F008}"/>
              </a:ext>
            </a:extLst>
          </p:cNvPr>
          <p:cNvGrpSpPr/>
          <p:nvPr/>
        </p:nvGrpSpPr>
        <p:grpSpPr>
          <a:xfrm>
            <a:off x="6687055" y="6523528"/>
            <a:ext cx="22971309" cy="523220"/>
            <a:chOff x="6687055" y="6494569"/>
            <a:chExt cx="22971309" cy="523220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D8D61DD-B216-2722-5E44-E19989409566}"/>
                </a:ext>
              </a:extLst>
            </p:cNvPr>
            <p:cNvSpPr txBox="1"/>
            <p:nvPr/>
          </p:nvSpPr>
          <p:spPr>
            <a:xfrm>
              <a:off x="12385601" y="6494569"/>
              <a:ext cx="1727276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Create value stream map, inputs-process-output, data creation and delivery assessment</a:t>
              </a:r>
            </a:p>
          </p:txBody>
        </p: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D3B72F96-F9B3-AB9F-78D7-360278DC6B46}"/>
                </a:ext>
              </a:extLst>
            </p:cNvPr>
            <p:cNvCxnSpPr>
              <a:cxnSpLocks/>
            </p:cNvCxnSpPr>
            <p:nvPr/>
          </p:nvCxnSpPr>
          <p:spPr>
            <a:xfrm>
              <a:off x="6687055" y="6756179"/>
              <a:ext cx="5402495" cy="1"/>
            </a:xfrm>
            <a:prstGeom prst="line">
              <a:avLst/>
            </a:prstGeom>
            <a:ln w="57150"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FF77FFE-266F-297C-9068-742B0F132B7A}"/>
              </a:ext>
            </a:extLst>
          </p:cNvPr>
          <p:cNvGrpSpPr/>
          <p:nvPr/>
        </p:nvGrpSpPr>
        <p:grpSpPr>
          <a:xfrm>
            <a:off x="10315099" y="7323740"/>
            <a:ext cx="18727040" cy="523220"/>
            <a:chOff x="10315099" y="7264910"/>
            <a:chExt cx="18727040" cy="523220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E5F7125-1E27-A8CC-A42B-76E37F6D2CAF}"/>
                </a:ext>
              </a:extLst>
            </p:cNvPr>
            <p:cNvSpPr txBox="1"/>
            <p:nvPr/>
          </p:nvSpPr>
          <p:spPr>
            <a:xfrm>
              <a:off x="16081858" y="7264910"/>
              <a:ext cx="1296028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Identify sources of waste, variance analysis and root cause evaluation </a:t>
              </a: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06083D5-D8DA-8596-4973-FE7FF89CC3D6}"/>
                </a:ext>
              </a:extLst>
            </p:cNvPr>
            <p:cNvCxnSpPr>
              <a:cxnSpLocks/>
            </p:cNvCxnSpPr>
            <p:nvPr/>
          </p:nvCxnSpPr>
          <p:spPr>
            <a:xfrm>
              <a:off x="10315099" y="7526520"/>
              <a:ext cx="5402495" cy="1"/>
            </a:xfrm>
            <a:prstGeom prst="line">
              <a:avLst/>
            </a:prstGeom>
            <a:ln w="57150"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86539D3-AD2B-4925-5C04-63E30AD346B4}"/>
              </a:ext>
            </a:extLst>
          </p:cNvPr>
          <p:cNvGrpSpPr/>
          <p:nvPr/>
        </p:nvGrpSpPr>
        <p:grpSpPr>
          <a:xfrm>
            <a:off x="10315099" y="8123952"/>
            <a:ext cx="21414973" cy="523220"/>
            <a:chOff x="10315099" y="8053355"/>
            <a:chExt cx="21414973" cy="523220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76D003CC-4280-D94E-7B05-B630C260C1EC}"/>
                </a:ext>
              </a:extLst>
            </p:cNvPr>
            <p:cNvSpPr txBox="1"/>
            <p:nvPr/>
          </p:nvSpPr>
          <p:spPr>
            <a:xfrm>
              <a:off x="15978444" y="8053355"/>
              <a:ext cx="1575162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Ideation of potential services and propose recommendations</a:t>
              </a: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1FFAE099-CE63-67FB-3C4E-240B2CCA3A17}"/>
                </a:ext>
              </a:extLst>
            </p:cNvPr>
            <p:cNvCxnSpPr>
              <a:cxnSpLocks/>
            </p:cNvCxnSpPr>
            <p:nvPr/>
          </p:nvCxnSpPr>
          <p:spPr>
            <a:xfrm>
              <a:off x="10315099" y="8314965"/>
              <a:ext cx="5402495" cy="1"/>
            </a:xfrm>
            <a:prstGeom prst="line">
              <a:avLst/>
            </a:prstGeom>
            <a:ln w="57150">
              <a:solidFill>
                <a:srgbClr val="FF292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F04DA96-C1F5-356C-83F9-2FDE2AA4EF43}"/>
              </a:ext>
            </a:extLst>
          </p:cNvPr>
          <p:cNvGrpSpPr/>
          <p:nvPr/>
        </p:nvGrpSpPr>
        <p:grpSpPr>
          <a:xfrm>
            <a:off x="-397574" y="8924164"/>
            <a:ext cx="21589171" cy="523220"/>
            <a:chOff x="-397574" y="8878340"/>
            <a:chExt cx="21589171" cy="523220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7731C03E-146D-23CD-FD06-4FAECFD0DBB7}"/>
                </a:ext>
              </a:extLst>
            </p:cNvPr>
            <p:cNvSpPr txBox="1"/>
            <p:nvPr/>
          </p:nvSpPr>
          <p:spPr>
            <a:xfrm>
              <a:off x="-397574" y="8878340"/>
              <a:ext cx="1585504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Evaluate service improvements</a:t>
              </a: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CC2F3BB-E57C-D714-6C44-98229EF6EF27}"/>
                </a:ext>
              </a:extLst>
            </p:cNvPr>
            <p:cNvCxnSpPr>
              <a:cxnSpLocks/>
            </p:cNvCxnSpPr>
            <p:nvPr/>
          </p:nvCxnSpPr>
          <p:spPr>
            <a:xfrm>
              <a:off x="15789102" y="9152423"/>
              <a:ext cx="5402495" cy="1"/>
            </a:xfrm>
            <a:prstGeom prst="line">
              <a:avLst/>
            </a:prstGeom>
            <a:ln w="57150">
              <a:solidFill>
                <a:srgbClr val="FF292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0D4BFE5-EB87-C763-3EBD-FD73440F11C5}"/>
              </a:ext>
            </a:extLst>
          </p:cNvPr>
          <p:cNvGrpSpPr/>
          <p:nvPr/>
        </p:nvGrpSpPr>
        <p:grpSpPr>
          <a:xfrm>
            <a:off x="4953001" y="9724376"/>
            <a:ext cx="18109350" cy="523220"/>
            <a:chOff x="4953001" y="9656858"/>
            <a:chExt cx="18109350" cy="523220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80F933E-7430-13E1-D0D3-6C65D6ECCE17}"/>
                </a:ext>
              </a:extLst>
            </p:cNvPr>
            <p:cNvSpPr txBox="1"/>
            <p:nvPr/>
          </p:nvSpPr>
          <p:spPr>
            <a:xfrm>
              <a:off x="4953001" y="9656858"/>
              <a:ext cx="1053994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Design to- be process maps and update macro department map</a:t>
              </a: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66FFB88D-8226-867D-FA38-F1BBC8080B78}"/>
                </a:ext>
              </a:extLst>
            </p:cNvPr>
            <p:cNvCxnSpPr>
              <a:cxnSpLocks/>
            </p:cNvCxnSpPr>
            <p:nvPr/>
          </p:nvCxnSpPr>
          <p:spPr>
            <a:xfrm>
              <a:off x="15838256" y="9913317"/>
              <a:ext cx="7224095" cy="10303"/>
            </a:xfrm>
            <a:prstGeom prst="line">
              <a:avLst/>
            </a:prstGeom>
            <a:ln w="57150">
              <a:solidFill>
                <a:schemeClr val="accent6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238C577-AD4E-0EF3-F20D-D8E8EEE46081}"/>
              </a:ext>
            </a:extLst>
          </p:cNvPr>
          <p:cNvGrpSpPr/>
          <p:nvPr/>
        </p:nvGrpSpPr>
        <p:grpSpPr>
          <a:xfrm>
            <a:off x="-2100347" y="10524588"/>
            <a:ext cx="25105490" cy="523220"/>
            <a:chOff x="-2100347" y="10518787"/>
            <a:chExt cx="25105490" cy="52322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686ECA96-EC17-633A-03B1-8084589B70A9}"/>
                </a:ext>
              </a:extLst>
            </p:cNvPr>
            <p:cNvSpPr txBox="1"/>
            <p:nvPr/>
          </p:nvSpPr>
          <p:spPr>
            <a:xfrm>
              <a:off x="-2100347" y="10518787"/>
              <a:ext cx="21089388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r"/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Product development</a:t>
              </a: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217C0B07-C1D3-BE83-E3DB-E5BE56CC9844}"/>
                </a:ext>
              </a:extLst>
            </p:cNvPr>
            <p:cNvCxnSpPr>
              <a:cxnSpLocks/>
            </p:cNvCxnSpPr>
            <p:nvPr/>
          </p:nvCxnSpPr>
          <p:spPr>
            <a:xfrm>
              <a:off x="19501052" y="10780397"/>
              <a:ext cx="3504091" cy="0"/>
            </a:xfrm>
            <a:prstGeom prst="line">
              <a:avLst/>
            </a:prstGeom>
            <a:ln w="57150">
              <a:solidFill>
                <a:schemeClr val="accent6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B29DBCA-1BCD-6520-8AAD-A1E4A0B717F1}"/>
              </a:ext>
            </a:extLst>
          </p:cNvPr>
          <p:cNvGrpSpPr/>
          <p:nvPr/>
        </p:nvGrpSpPr>
        <p:grpSpPr>
          <a:xfrm>
            <a:off x="1622174" y="11324800"/>
            <a:ext cx="25021020" cy="523220"/>
            <a:chOff x="1622174" y="11330128"/>
            <a:chExt cx="25021020" cy="523220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9A8795C2-2775-471D-BB4D-FD1F2CD3A9F9}"/>
                </a:ext>
              </a:extLst>
            </p:cNvPr>
            <p:cNvSpPr txBox="1"/>
            <p:nvPr/>
          </p:nvSpPr>
          <p:spPr>
            <a:xfrm>
              <a:off x="1622174" y="11330128"/>
              <a:ext cx="2108938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2800" dirty="0">
                  <a:latin typeface="Segoe UI" panose="020B0502040204020203" pitchFamily="34" charset="0"/>
                  <a:cs typeface="Segoe UI" panose="020B0502040204020203" pitchFamily="34" charset="0"/>
                </a:rPr>
                <a:t>Solution outline, test and pitch. Develop revised operating model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9A35B4A2-F854-9AD0-B1FE-9BFF25AC7B74}"/>
                </a:ext>
              </a:extLst>
            </p:cNvPr>
            <p:cNvCxnSpPr>
              <a:cxnSpLocks/>
            </p:cNvCxnSpPr>
            <p:nvPr/>
          </p:nvCxnSpPr>
          <p:spPr>
            <a:xfrm>
              <a:off x="23139103" y="11591738"/>
              <a:ext cx="3504091" cy="0"/>
            </a:xfrm>
            <a:prstGeom prst="line">
              <a:avLst/>
            </a:prstGeom>
            <a:ln w="57150">
              <a:solidFill>
                <a:schemeClr val="accent6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15BAEFB-CC36-5620-6027-AD71D09DC9AB}"/>
              </a:ext>
            </a:extLst>
          </p:cNvPr>
          <p:cNvGrpSpPr/>
          <p:nvPr/>
        </p:nvGrpSpPr>
        <p:grpSpPr>
          <a:xfrm>
            <a:off x="18034518" y="12125013"/>
            <a:ext cx="12278674" cy="523220"/>
            <a:chOff x="18034518" y="12125013"/>
            <a:chExt cx="12278674" cy="523220"/>
          </a:xfrm>
        </p:grpSpPr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321A126-BEB1-3A6C-2BE7-34D4BFF39E20}"/>
                </a:ext>
              </a:extLst>
            </p:cNvPr>
            <p:cNvSpPr txBox="1"/>
            <p:nvPr/>
          </p:nvSpPr>
          <p:spPr>
            <a:xfrm>
              <a:off x="18034518" y="12125013"/>
              <a:ext cx="844242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Success plan and continuous improvement</a:t>
              </a: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B69E070-71AE-C23D-89D0-5B99495129DB}"/>
                </a:ext>
              </a:extLst>
            </p:cNvPr>
            <p:cNvCxnSpPr>
              <a:cxnSpLocks/>
            </p:cNvCxnSpPr>
            <p:nvPr/>
          </p:nvCxnSpPr>
          <p:spPr>
            <a:xfrm>
              <a:off x="26809101" y="12386623"/>
              <a:ext cx="3504091" cy="0"/>
            </a:xfrm>
            <a:prstGeom prst="line">
              <a:avLst/>
            </a:prstGeom>
            <a:ln w="57150">
              <a:solidFill>
                <a:schemeClr val="accent6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D79BE54-3237-10C2-707B-927089192465}"/>
              </a:ext>
            </a:extLst>
          </p:cNvPr>
          <p:cNvCxnSpPr>
            <a:cxnSpLocks/>
          </p:cNvCxnSpPr>
          <p:nvPr/>
        </p:nvCxnSpPr>
        <p:spPr>
          <a:xfrm>
            <a:off x="1151525" y="12170002"/>
            <a:ext cx="1920240" cy="12624"/>
          </a:xfrm>
          <a:prstGeom prst="line">
            <a:avLst/>
          </a:prstGeom>
          <a:ln w="5715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8207F3-F950-9A8D-9A99-BDB7900A9552}"/>
              </a:ext>
            </a:extLst>
          </p:cNvPr>
          <p:cNvCxnSpPr>
            <a:cxnSpLocks/>
          </p:cNvCxnSpPr>
          <p:nvPr/>
        </p:nvCxnSpPr>
        <p:spPr>
          <a:xfrm>
            <a:off x="1165351" y="12772561"/>
            <a:ext cx="1920240" cy="1"/>
          </a:xfrm>
          <a:prstGeom prst="line">
            <a:avLst/>
          </a:prstGeom>
          <a:ln w="57150">
            <a:solidFill>
              <a:srgbClr val="FF2929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65A4B9B-CC8F-4CEE-EF24-310E385EF6A8}"/>
              </a:ext>
            </a:extLst>
          </p:cNvPr>
          <p:cNvCxnSpPr>
            <a:cxnSpLocks/>
          </p:cNvCxnSpPr>
          <p:nvPr/>
        </p:nvCxnSpPr>
        <p:spPr>
          <a:xfrm>
            <a:off x="1165351" y="13349030"/>
            <a:ext cx="1920240" cy="10303"/>
          </a:xfrm>
          <a:prstGeom prst="line">
            <a:avLst/>
          </a:prstGeom>
          <a:ln w="57150">
            <a:solidFill>
              <a:schemeClr val="accent6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D43A0FB-91E9-5475-7D2E-75FDE08CAE97}"/>
              </a:ext>
            </a:extLst>
          </p:cNvPr>
          <p:cNvSpPr txBox="1"/>
          <p:nvPr/>
        </p:nvSpPr>
        <p:spPr>
          <a:xfrm>
            <a:off x="3589319" y="11951793"/>
            <a:ext cx="15378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Discove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5C25E7-B4A6-0188-3435-F9FD99C30B3A}"/>
              </a:ext>
            </a:extLst>
          </p:cNvPr>
          <p:cNvSpPr txBox="1"/>
          <p:nvPr/>
        </p:nvSpPr>
        <p:spPr>
          <a:xfrm>
            <a:off x="3589319" y="12541728"/>
            <a:ext cx="15378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Op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05C4B3-B4C3-24D7-4CD9-2362A53BCAF3}"/>
              </a:ext>
            </a:extLst>
          </p:cNvPr>
          <p:cNvSpPr txBox="1"/>
          <p:nvPr/>
        </p:nvSpPr>
        <p:spPr>
          <a:xfrm>
            <a:off x="3589319" y="13131663"/>
            <a:ext cx="24776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Future State</a:t>
            </a:r>
          </a:p>
        </p:txBody>
      </p:sp>
    </p:spTree>
    <p:extLst>
      <p:ext uri="{BB962C8B-B14F-4D97-AF65-F5344CB8AC3E}">
        <p14:creationId xmlns:p14="http://schemas.microsoft.com/office/powerpoint/2010/main" val="1543230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Map Stakeholders and Value Proposition(s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10E08A-953C-D760-B340-56EFAC294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44799" y="2490506"/>
            <a:ext cx="14848387" cy="11414497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F90105F-C972-30AE-7DE7-B863DCF622F7}"/>
              </a:ext>
            </a:extLst>
          </p:cNvPr>
          <p:cNvSpPr/>
          <p:nvPr/>
        </p:nvSpPr>
        <p:spPr>
          <a:xfrm>
            <a:off x="3549356" y="3389673"/>
            <a:ext cx="8584828" cy="8584834"/>
          </a:xfrm>
          <a:prstGeom prst="ellipse">
            <a:avLst/>
          </a:prstGeom>
          <a:solidFill>
            <a:srgbClr val="FFC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74">
              <a:cs typeface="Segoe UI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4BC3E1-17C1-FDE5-8984-EEF977B8D4B8}"/>
              </a:ext>
            </a:extLst>
          </p:cNvPr>
          <p:cNvGrpSpPr/>
          <p:nvPr/>
        </p:nvGrpSpPr>
        <p:grpSpPr>
          <a:xfrm>
            <a:off x="4844564" y="2875870"/>
            <a:ext cx="6089054" cy="9269560"/>
            <a:chOff x="8593979" y="887441"/>
            <a:chExt cx="2619804" cy="398821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FEB747D6-D88D-A3D0-5FBF-A0F5E02A807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97112" y="157711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BF7DDC1-9DF1-BFFE-78F3-C499070E01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08572" y="186677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348311E-F897-9E98-D03A-876EBECB4F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55101" y="21069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253C302-92EF-635F-1AE7-F21E2F9B6F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79700" y="289361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344655A-3A4B-CA5A-E15F-E42BF9B688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5181" y="26483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2681137-CC27-9F25-9531-129CFFED07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86640" y="293798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926CEFC-CA6F-D7D0-E49F-CC53E42749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33170" y="317813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365E2B41-8D70-79D1-0E47-9D009D9BF7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22275" y="392045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9A252F4-0857-08B6-02D4-78B1968AAF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17756" y="367516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CB46331-30B1-AA82-757D-92BDED7AA8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29216" y="396482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2C5AC714-BA87-3ABA-7E2C-E6D2D65174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75745" y="42049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73814D5-10E2-2770-6608-15A246E36C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7971" y="468582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234A868-A76B-AC66-A982-947FB65D25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63452" y="444053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A297F89-0326-5BD7-B48B-571B47C60E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74911" y="473019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2C37899-6B0A-6839-3D7F-2D224DE8C8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30784" y="2851184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3554E43-FCB6-5F5E-A2F6-8A65A64D8E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2361" y="351985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A24A0FB-B7CE-52CD-69DA-FAB92BED10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07842" y="3274575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BD05E4E-E8E3-663C-454E-783F3B8588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19302" y="356422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507C119-3FDA-D84E-DBA2-D65F2DF0B6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65831" y="3804385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2D52733-3E4F-595F-2019-68A4546950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73740" y="227474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56E81E9-FF97-EEEF-AF3D-1B435237D7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9221" y="202945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FA51775-08A6-1C8B-3BA3-83FD80C6A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0681" y="231911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72FF2D1-AE52-C761-A3F8-0CA87A6E62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7210" y="255926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A4AD3FF-82F4-AEEB-DE71-B7235A5620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5528" y="337667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ACCD05B-0E80-C98A-A916-CF3D659FED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9761" y="286328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BDB185C-71D0-3878-5D2D-019D0E83A9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97676" y="468582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12B8B53-009C-95AD-FC3A-6F8A5E278E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42138" y="250655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B7B09AB-D5AB-2501-997B-6606D56D7E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10898" y="4655498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2D14C8A-D7B7-D524-B99C-F5DE2442B6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86399" y="126952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D675658-E35D-FC75-59BD-E8B16883AF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54372" y="1586646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22DFEC1-0FA7-2C62-91FB-E9E9E12F78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84070" y="42049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FD4B2FE-5598-96ED-5881-0E0DE44E5F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25442" y="1596056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18609BB-7E26-6CC8-685F-A844A45510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6902" y="188570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C5C2E000-7EAA-27E9-C856-46A3268BBF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10593" y="1153243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4E351700-050E-8965-DEF8-C063325FAF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94327" y="403373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901D3C2-C664-382D-126C-B8FF589752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56713" y="31823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68284C0-7DAC-79D8-5C70-85B079A958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68322" y="26483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7EBF5FC-3109-B3CB-8876-CFF979DC10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98425" y="131131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9029F78-A8B4-81E8-233E-E7815F07BE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09884" y="160097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238E387-F934-E660-6849-899BBB3768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56414" y="18411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0659B86E-A508-256D-BC31-F0DDF15ED6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81012" y="262781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DF60A33-58EB-D972-FFE3-750DB60F45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76493" y="23825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7291DF4-9581-6484-5372-FCB78C1CF5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87953" y="267218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947E695-C52D-1BAB-6C24-420745B2AB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4482" y="291233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AA7ABE82-FC6D-DF73-08A2-4F90C2E3C8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23588" y="365464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C195DDE3-FCDD-C67D-3C78-3B7F246764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9069" y="340936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0774F4DE-B8D4-BB83-A8BB-A0D61CA21B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0528" y="369901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33145D0D-1D31-C0E9-655C-C1E428C086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77058" y="39391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5D6D33-7C26-A243-795C-E13F7E89F2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9283" y="442001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545EE8C-6230-B155-165D-0B53A1512E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765" y="417473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8B6F859-BBCD-F181-15A3-E7C040498C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6224" y="446438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0FAF8E2-C5C5-9206-A8B4-E4DCDC680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22754" y="470454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4B5DA7A3-D1D8-652D-4B04-AA4217B73F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13674" y="325405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F479C1FD-1C33-9646-1684-25926A63BF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09155" y="3008773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0CD61A4B-3785-8DBF-3E9C-0FC1375890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20615" y="329842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6E1D148-A8E6-8896-F662-C0D9F91025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7144" y="3538583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7F12174B-92C8-1688-15AB-24D5CA15F7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75053" y="200894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6B465538-C203-E1E0-7E70-4C17C6FD76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70534" y="176365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FD4E4242-E7F5-D9BB-1854-D5AC6D0CD0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81993" y="205331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37D7B60-1AA5-2824-1F7B-BE2F8ACE56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8523" y="229346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B8D482A1-1318-4C6C-ED39-D97EE7E17C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46841" y="311087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FC92DA70-95E9-016A-B89E-59F6AC1663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91073" y="259748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B7DA75D-2A7E-1DE1-932D-BD75FF7085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98989" y="442001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BB8133D4-A309-A52D-721C-EC6241EC9D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3451" y="224075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2794E3C2-E9D9-0091-C612-093046ACC2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2210" y="4389696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D9EB442A-7817-31AA-D429-AE0458B88C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87712" y="100371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AD49AB1B-5C46-FCFC-4CB1-1951829557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5684" y="1320844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385EC1A-27CA-B520-BE67-5439D9B723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85383" y="39391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203B10EC-0093-D12C-CB22-C027000529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26755" y="1330254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A5BD57B3-826C-A691-EEA8-D976C2A566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38215" y="161990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208F6204-8C62-C00B-354E-E8C0B5996B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11906" y="887441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52462374-084A-7E63-B8F7-16F17FA450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5639" y="376793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F7BFB381-7F64-514A-037B-18D73E5205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58025" y="29165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834BD14D-B0E5-BC17-24CE-94392591C9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69635" y="23825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FC5354D3-0D73-2F83-959D-F356B9947D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5562" y="155966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E6569352-2580-08B2-24A7-87D5FAFF8C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57022" y="184931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1435DAD1-2B50-E9A7-27FD-22A0E09021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03552" y="208947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5954EA2D-EE8A-AD11-EE87-4FE6F4EDD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28150" y="287615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6326C5FA-464A-1916-0788-12AD09DE29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23631" y="263087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EC24251C-BCC6-DB1B-63E9-93EF1831B8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5091" y="292052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35183FF4-07BE-03FB-6C05-A791B3784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81620" y="316068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A0A4EA5E-05EA-88AE-7097-D9F22F937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0618" y="3425983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BD2D87D1-C487-865F-8303-58CF2B5D8E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66206" y="365771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053A4056-1842-2149-3B2E-2A37B85358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7666" y="394736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A1E37CE7-1BD3-ACFC-75E8-BA42B3E7C9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24195" y="418752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6C66968-4EF0-FF8A-4271-E7D8120625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6421" y="466836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89651B09-4E28-198D-F3B4-5A69AD270E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11902" y="442308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C36E499C-9B09-1A3C-2D6D-316A7EADE9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3362" y="471273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5E7D8F3B-8AB8-7246-B106-AEB4764C08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07299" y="4092830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4C4C1F2-48FA-7309-20F8-257016189D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60812" y="350240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B954FD4F-89A4-46DE-AAE4-6CAA01B95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56293" y="3257122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834B87EF-7FC9-CCD5-1605-11D74E80CB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67752" y="354677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5CAEBF2B-5844-812B-C69B-5423131212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14282" y="3786932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7D614EE3-095B-3F48-20EA-39C4FC341B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22191" y="225728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4730F1A-35A2-B666-D0AC-4C13CAA803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17672" y="201200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22A0FEAC-1582-9CEC-CA78-3E30BB95B0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29131" y="2301660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7D213C20-B745-9B88-1B86-8A6CCE2DF2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75661" y="254181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89630596-68B0-916A-ABD5-98BD17324B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93979" y="335922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FBA69F6A-1976-4FD4-E716-DEB74DEB58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38211" y="284583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C7346DD4-4B66-9E71-A1F9-6AAF2EF757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93529" y="419075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436972D8-B2F8-2CEE-0747-85B92ED6D9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9172" y="248881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DE864B6C-1BD7-DCB5-0BB3-135074B6B7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59348" y="463804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9B73DCA3-5A24-8C88-4A23-E96220E004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4849" y="125206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0EA5C4D0-A2E7-AAA0-EA28-842454CD24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02822" y="1569194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1E9C8E6B-5F57-DE01-74AE-B9BA84FD6B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32521" y="418752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45F6141C-F6CC-651D-83A9-400D80A95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3893" y="1578604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73750343-2ADC-9BB0-48D7-363D8ECA2D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5352" y="186825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3C48FC0-0886-67B7-993F-8FEC7A71C5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59043" y="1135791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FCB92E96-6196-0A27-B7BB-104ED2732D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42777" y="401627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58CE4AB6-BD5E-7A0B-8F39-B82FCF2202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05163" y="316492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872090E3-D181-BFD4-11A4-2671D79F55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6773" y="263087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862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D2D32EB-23D2-5093-02EF-5E12B5712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854968" cy="1447442"/>
          </a:xfrm>
        </p:spPr>
        <p:txBody>
          <a:bodyPr/>
          <a:lstStyle/>
          <a:p>
            <a:r>
              <a:rPr lang="en-US" dirty="0"/>
              <a:t>Speake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D04124-224E-C75E-E7BA-9263F7A1419B}"/>
              </a:ext>
            </a:extLst>
          </p:cNvPr>
          <p:cNvSpPr txBox="1"/>
          <p:nvPr/>
        </p:nvSpPr>
        <p:spPr>
          <a:xfrm>
            <a:off x="1163771" y="9650324"/>
            <a:ext cx="1336493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400" b="1" dirty="0"/>
              <a:t>Sadia Janjua</a:t>
            </a:r>
            <a:r>
              <a:rPr lang="en-US" sz="5400" dirty="0"/>
              <a:t>, LEED, AP, PSP</a:t>
            </a:r>
          </a:p>
          <a:p>
            <a:pPr algn="ctr"/>
            <a:r>
              <a:rPr lang="en-US" sz="5400" dirty="0"/>
              <a:t>Chief of Digital Transformation </a:t>
            </a:r>
          </a:p>
          <a:p>
            <a:pPr algn="ctr"/>
            <a:r>
              <a:rPr lang="en-US" sz="5400" dirty="0"/>
              <a:t>Port Authority of New York and New Jersey</a:t>
            </a:r>
          </a:p>
        </p:txBody>
      </p:sp>
      <p:pic>
        <p:nvPicPr>
          <p:cNvPr id="3" name="Picture 2" descr="Image result for sadia janjua">
            <a:extLst>
              <a:ext uri="{FF2B5EF4-FFF2-40B4-BE49-F238E27FC236}">
                <a16:creationId xmlns:a16="http://schemas.microsoft.com/office/drawing/2014/main" id="{82F0DD9E-4ECA-0757-16E4-9B1A96C35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496" y="3844302"/>
            <a:ext cx="5089516" cy="5089516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0B44E59-F77C-5DF1-2E35-8074FCCC400B}"/>
              </a:ext>
            </a:extLst>
          </p:cNvPr>
          <p:cNvSpPr txBox="1"/>
          <p:nvPr/>
        </p:nvSpPr>
        <p:spPr>
          <a:xfrm>
            <a:off x="15544800" y="9650324"/>
            <a:ext cx="1336493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5400" b="1" dirty="0"/>
              <a:t>Wes Beaumont</a:t>
            </a:r>
            <a:r>
              <a:rPr lang="en-US" sz="5400" dirty="0"/>
              <a:t>, MSc MCIOB</a:t>
            </a:r>
          </a:p>
          <a:p>
            <a:pPr algn="ctr"/>
            <a:r>
              <a:rPr lang="en-US" sz="5400" dirty="0"/>
              <a:t>Digital Transformation Advisory Lead</a:t>
            </a:r>
          </a:p>
          <a:p>
            <a:pPr algn="ctr"/>
            <a:r>
              <a:rPr lang="en-US" sz="5400" dirty="0"/>
              <a:t>AECOM US East and LATAM</a:t>
            </a:r>
          </a:p>
        </p:txBody>
      </p:sp>
      <p:pic>
        <p:nvPicPr>
          <p:cNvPr id="6" name="Picture 5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95150CF1-E48A-FFBF-AFA9-FDE1E12684D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15" t="577" r="13560" b="5021"/>
          <a:stretch/>
        </p:blipFill>
        <p:spPr>
          <a:xfrm>
            <a:off x="19682510" y="3844302"/>
            <a:ext cx="5089516" cy="5089516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5796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Service and Capability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7C1892-F7AD-CB75-60B6-6BDC0EE774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970" y="2539990"/>
            <a:ext cx="30813630" cy="10989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67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Proces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E9F9E86-3138-FFFC-2E42-27E0423EF9C6}"/>
              </a:ext>
            </a:extLst>
          </p:cNvPr>
          <p:cNvGrpSpPr/>
          <p:nvPr/>
        </p:nvGrpSpPr>
        <p:grpSpPr>
          <a:xfrm>
            <a:off x="2359612" y="2869180"/>
            <a:ext cx="26370376" cy="856737"/>
            <a:chOff x="2359612" y="2869180"/>
            <a:chExt cx="26370376" cy="856737"/>
          </a:xfrm>
        </p:grpSpPr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8B4753D-3363-4C16-75E4-8B8B971662E3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>
              <a:off x="9202582" y="3287171"/>
              <a:ext cx="16230600" cy="2404"/>
            </a:xfrm>
            <a:prstGeom prst="straightConnector1">
              <a:avLst/>
            </a:prstGeom>
            <a:ln w="47625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CA9D5AB-4B77-FD28-3FFD-B16FD66922B4}"/>
                </a:ext>
              </a:extLst>
            </p:cNvPr>
            <p:cNvSpPr/>
            <p:nvPr/>
          </p:nvSpPr>
          <p:spPr>
            <a:xfrm>
              <a:off x="5656418" y="3001704"/>
              <a:ext cx="3546164" cy="575749"/>
            </a:xfrm>
            <a:prstGeom prst="rect">
              <a:avLst/>
            </a:prstGeom>
            <a:solidFill>
              <a:srgbClr val="022D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SUPPLIER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FF2A5C2-B749-CE97-2698-5CD753191980}"/>
                </a:ext>
              </a:extLst>
            </p:cNvPr>
            <p:cNvSpPr/>
            <p:nvPr/>
          </p:nvSpPr>
          <p:spPr>
            <a:xfrm>
              <a:off x="9714068" y="3001703"/>
              <a:ext cx="3546164" cy="575749"/>
            </a:xfrm>
            <a:prstGeom prst="rect">
              <a:avLst/>
            </a:prstGeom>
            <a:solidFill>
              <a:srgbClr val="022D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INPU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CA3E4BF-4432-2EEB-F53A-D00BCA6B643C}"/>
                </a:ext>
              </a:extLst>
            </p:cNvPr>
            <p:cNvSpPr/>
            <p:nvPr/>
          </p:nvSpPr>
          <p:spPr>
            <a:xfrm>
              <a:off x="13771718" y="3001702"/>
              <a:ext cx="3546164" cy="575749"/>
            </a:xfrm>
            <a:prstGeom prst="rect">
              <a:avLst/>
            </a:prstGeom>
            <a:solidFill>
              <a:srgbClr val="022D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PROCES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A02C22E-0DBB-FFCB-F372-CAFD911322C9}"/>
                </a:ext>
              </a:extLst>
            </p:cNvPr>
            <p:cNvSpPr/>
            <p:nvPr/>
          </p:nvSpPr>
          <p:spPr>
            <a:xfrm>
              <a:off x="17829368" y="3001701"/>
              <a:ext cx="3546164" cy="575749"/>
            </a:xfrm>
            <a:prstGeom prst="rect">
              <a:avLst/>
            </a:prstGeom>
            <a:solidFill>
              <a:srgbClr val="022D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OUTPUT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FEE3B78-9A73-077E-E15C-87D3BE4E5333}"/>
                </a:ext>
              </a:extLst>
            </p:cNvPr>
            <p:cNvSpPr/>
            <p:nvPr/>
          </p:nvSpPr>
          <p:spPr>
            <a:xfrm>
              <a:off x="21887018" y="3001700"/>
              <a:ext cx="3546164" cy="575749"/>
            </a:xfrm>
            <a:prstGeom prst="rect">
              <a:avLst/>
            </a:prstGeom>
            <a:solidFill>
              <a:srgbClr val="022D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/>
                <a:t>CUSTOMER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2AD876D8-4437-7CA7-3BDB-15154FB6ED15}"/>
                </a:ext>
              </a:extLst>
            </p:cNvPr>
            <p:cNvCxnSpPr>
              <a:endCxn id="3" idx="1"/>
            </p:cNvCxnSpPr>
            <p:nvPr/>
          </p:nvCxnSpPr>
          <p:spPr>
            <a:xfrm>
              <a:off x="3200400" y="3289574"/>
              <a:ext cx="2456018" cy="5"/>
            </a:xfrm>
            <a:prstGeom prst="straightConnector1">
              <a:avLst/>
            </a:prstGeom>
            <a:ln w="47625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1EDC5A8-064A-6B13-C32E-6E5B806FF466}"/>
                </a:ext>
              </a:extLst>
            </p:cNvPr>
            <p:cNvSpPr/>
            <p:nvPr/>
          </p:nvSpPr>
          <p:spPr>
            <a:xfrm>
              <a:off x="2359612" y="2869180"/>
              <a:ext cx="840788" cy="8407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C04A8622-0DDA-C0E7-F2E0-2EEE42560B29}"/>
                </a:ext>
              </a:extLst>
            </p:cNvPr>
            <p:cNvCxnSpPr/>
            <p:nvPr/>
          </p:nvCxnSpPr>
          <p:spPr>
            <a:xfrm>
              <a:off x="25433182" y="3289569"/>
              <a:ext cx="2456018" cy="5"/>
            </a:xfrm>
            <a:prstGeom prst="straightConnector1">
              <a:avLst/>
            </a:prstGeom>
            <a:ln w="47625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007CA26-21BB-CD01-3470-DB45784EAB70}"/>
                </a:ext>
              </a:extLst>
            </p:cNvPr>
            <p:cNvSpPr/>
            <p:nvPr/>
          </p:nvSpPr>
          <p:spPr>
            <a:xfrm>
              <a:off x="27889200" y="2885129"/>
              <a:ext cx="840788" cy="8407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8DD0A4EE-5BEF-A470-28E0-6FCE28F1F409}"/>
              </a:ext>
            </a:extLst>
          </p:cNvPr>
          <p:cNvSpPr/>
          <p:nvPr/>
        </p:nvSpPr>
        <p:spPr>
          <a:xfrm>
            <a:off x="5656418" y="3997847"/>
            <a:ext cx="3546164" cy="3020173"/>
          </a:xfrm>
          <a:prstGeom prst="rect">
            <a:avLst/>
          </a:prstGeom>
          <a:solidFill>
            <a:srgbClr val="FFFF00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22DB7"/>
                </a:solidFill>
              </a:rPr>
              <a:t>Who is supplying the inputs? 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e.g., 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Design tea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E1300B8-94DF-D9FA-4E0C-E2B922C5C8B9}"/>
              </a:ext>
            </a:extLst>
          </p:cNvPr>
          <p:cNvSpPr/>
          <p:nvPr/>
        </p:nvSpPr>
        <p:spPr>
          <a:xfrm>
            <a:off x="9714068" y="3997847"/>
            <a:ext cx="3546164" cy="3020173"/>
          </a:xfrm>
          <a:prstGeom prst="rect">
            <a:avLst/>
          </a:prstGeom>
          <a:solidFill>
            <a:srgbClr val="FFFF00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22DB7"/>
                </a:solidFill>
              </a:rPr>
              <a:t>What is the input?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e.g., 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Cost estima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479BD12-A692-64A8-F2A2-B8A4974BF082}"/>
              </a:ext>
            </a:extLst>
          </p:cNvPr>
          <p:cNvSpPr/>
          <p:nvPr/>
        </p:nvSpPr>
        <p:spPr>
          <a:xfrm>
            <a:off x="13771718" y="3997847"/>
            <a:ext cx="3546164" cy="3020173"/>
          </a:xfrm>
          <a:prstGeom prst="rect">
            <a:avLst/>
          </a:prstGeom>
          <a:solidFill>
            <a:srgbClr val="FFFF00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22DB7"/>
                </a:solidFill>
              </a:rPr>
              <a:t>What are the major steps in the process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A8F918E-FA12-CCB0-9F96-17B66DBBFD80}"/>
              </a:ext>
            </a:extLst>
          </p:cNvPr>
          <p:cNvSpPr/>
          <p:nvPr/>
        </p:nvSpPr>
        <p:spPr>
          <a:xfrm>
            <a:off x="17829368" y="3997847"/>
            <a:ext cx="3546164" cy="3020173"/>
          </a:xfrm>
          <a:prstGeom prst="rect">
            <a:avLst/>
          </a:prstGeom>
          <a:solidFill>
            <a:srgbClr val="FFFF00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22DB7"/>
                </a:solidFill>
              </a:rPr>
              <a:t>What is the output?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e.g., 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Cost repor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D3D788-F953-2FAD-8682-6D76526B36E8}"/>
              </a:ext>
            </a:extLst>
          </p:cNvPr>
          <p:cNvSpPr/>
          <p:nvPr/>
        </p:nvSpPr>
        <p:spPr>
          <a:xfrm>
            <a:off x="21887018" y="3997846"/>
            <a:ext cx="3546164" cy="3020173"/>
          </a:xfrm>
          <a:prstGeom prst="rect">
            <a:avLst/>
          </a:prstGeom>
          <a:solidFill>
            <a:srgbClr val="FFFF00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rgbClr val="022DB7"/>
                </a:solidFill>
              </a:rPr>
              <a:t>Who is the customer?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e.g., </a:t>
            </a:r>
          </a:p>
          <a:p>
            <a:pPr algn="ctr"/>
            <a:endParaRPr lang="en-US" sz="2400" dirty="0">
              <a:solidFill>
                <a:srgbClr val="022DB7"/>
              </a:solidFill>
            </a:endParaRPr>
          </a:p>
          <a:p>
            <a:pPr algn="ctr"/>
            <a:r>
              <a:rPr lang="en-US" sz="2400" dirty="0">
                <a:solidFill>
                  <a:srgbClr val="022DB7"/>
                </a:solidFill>
              </a:rPr>
              <a:t>Project Manage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3594A49-9FA8-F689-195E-98C35829D6CC}"/>
              </a:ext>
            </a:extLst>
          </p:cNvPr>
          <p:cNvGrpSpPr/>
          <p:nvPr/>
        </p:nvGrpSpPr>
        <p:grpSpPr>
          <a:xfrm>
            <a:off x="4057650" y="8036280"/>
            <a:ext cx="22974300" cy="5217160"/>
            <a:chOff x="3817620" y="8050802"/>
            <a:chExt cx="22974300" cy="521716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906459B-1202-FFF7-7E03-F3A23B729B0B}"/>
                </a:ext>
              </a:extLst>
            </p:cNvPr>
            <p:cNvSpPr/>
            <p:nvPr/>
          </p:nvSpPr>
          <p:spPr>
            <a:xfrm>
              <a:off x="3817620" y="11963672"/>
              <a:ext cx="22974300" cy="130429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D879F79-BCBF-9926-9B88-99AFA13C9DBA}"/>
                </a:ext>
              </a:extLst>
            </p:cNvPr>
            <p:cNvSpPr/>
            <p:nvPr/>
          </p:nvSpPr>
          <p:spPr>
            <a:xfrm>
              <a:off x="3817620" y="10659382"/>
              <a:ext cx="22974300" cy="130429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A376D34-0730-1C3D-6475-BC2F58CA1445}"/>
                </a:ext>
              </a:extLst>
            </p:cNvPr>
            <p:cNvSpPr/>
            <p:nvPr/>
          </p:nvSpPr>
          <p:spPr>
            <a:xfrm>
              <a:off x="3817620" y="9355092"/>
              <a:ext cx="22974300" cy="130429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43BBB6-2883-E0FC-07F5-A2BCCCBE3EAD}"/>
                </a:ext>
              </a:extLst>
            </p:cNvPr>
            <p:cNvSpPr/>
            <p:nvPr/>
          </p:nvSpPr>
          <p:spPr>
            <a:xfrm>
              <a:off x="3817620" y="8050802"/>
              <a:ext cx="22974300" cy="130429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2" name="Graphic 31" descr="Users">
            <a:extLst>
              <a:ext uri="{FF2B5EF4-FFF2-40B4-BE49-F238E27FC236}">
                <a16:creationId xmlns:a16="http://schemas.microsoft.com/office/drawing/2014/main" id="{9E473A14-0975-B5CB-C062-AC8E218685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9611" y="8135640"/>
            <a:ext cx="1105569" cy="1105569"/>
          </a:xfrm>
          <a:prstGeom prst="rect">
            <a:avLst/>
          </a:prstGeom>
        </p:spPr>
      </p:pic>
      <p:pic>
        <p:nvPicPr>
          <p:cNvPr id="33" name="Graphic 32" descr="Users">
            <a:extLst>
              <a:ext uri="{FF2B5EF4-FFF2-40B4-BE49-F238E27FC236}">
                <a16:creationId xmlns:a16="http://schemas.microsoft.com/office/drawing/2014/main" id="{BA16C2EB-52C0-319E-A21D-883CE59062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9611" y="12043116"/>
            <a:ext cx="1105569" cy="1105569"/>
          </a:xfrm>
          <a:prstGeom prst="rect">
            <a:avLst/>
          </a:prstGeom>
        </p:spPr>
      </p:pic>
      <p:pic>
        <p:nvPicPr>
          <p:cNvPr id="34" name="Graphic 33" descr="Users">
            <a:extLst>
              <a:ext uri="{FF2B5EF4-FFF2-40B4-BE49-F238E27FC236}">
                <a16:creationId xmlns:a16="http://schemas.microsoft.com/office/drawing/2014/main" id="{A85920B5-D4C3-855A-257D-E5D3155E89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9611" y="9439930"/>
            <a:ext cx="1105569" cy="1105569"/>
          </a:xfrm>
          <a:prstGeom prst="rect">
            <a:avLst/>
          </a:prstGeom>
        </p:spPr>
      </p:pic>
      <p:pic>
        <p:nvPicPr>
          <p:cNvPr id="35" name="Graphic 34" descr="Users">
            <a:extLst>
              <a:ext uri="{FF2B5EF4-FFF2-40B4-BE49-F238E27FC236}">
                <a16:creationId xmlns:a16="http://schemas.microsoft.com/office/drawing/2014/main" id="{181E1B9D-0216-09D4-EEF4-753DD4C13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59611" y="10744220"/>
            <a:ext cx="1105569" cy="1105569"/>
          </a:xfrm>
          <a:prstGeom prst="rect">
            <a:avLst/>
          </a:prstGeom>
        </p:spPr>
      </p:pic>
      <p:grpSp>
        <p:nvGrpSpPr>
          <p:cNvPr id="1034" name="Group 1033">
            <a:extLst>
              <a:ext uri="{FF2B5EF4-FFF2-40B4-BE49-F238E27FC236}">
                <a16:creationId xmlns:a16="http://schemas.microsoft.com/office/drawing/2014/main" id="{DD9B8478-23A3-5429-69C2-144D98C9817C}"/>
              </a:ext>
            </a:extLst>
          </p:cNvPr>
          <p:cNvGrpSpPr/>
          <p:nvPr/>
        </p:nvGrpSpPr>
        <p:grpSpPr>
          <a:xfrm>
            <a:off x="4414653" y="8157298"/>
            <a:ext cx="22246538" cy="4931879"/>
            <a:chOff x="4414653" y="8157298"/>
            <a:chExt cx="22246538" cy="4931879"/>
          </a:xfrm>
        </p:grpSpPr>
        <p:sp>
          <p:nvSpPr>
            <p:cNvPr id="36" name="Flowchart: Decision 35">
              <a:extLst>
                <a:ext uri="{FF2B5EF4-FFF2-40B4-BE49-F238E27FC236}">
                  <a16:creationId xmlns:a16="http://schemas.microsoft.com/office/drawing/2014/main" id="{74AD0E4C-83A0-44AE-209D-D5CC183C875F}"/>
                </a:ext>
              </a:extLst>
            </p:cNvPr>
            <p:cNvSpPr/>
            <p:nvPr/>
          </p:nvSpPr>
          <p:spPr>
            <a:xfrm>
              <a:off x="4414653" y="12126622"/>
              <a:ext cx="1436649" cy="962555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594734-26EE-D27B-1891-9FA8ED12B7BD}"/>
                </a:ext>
              </a:extLst>
            </p:cNvPr>
            <p:cNvSpPr/>
            <p:nvPr/>
          </p:nvSpPr>
          <p:spPr>
            <a:xfrm>
              <a:off x="7151627" y="8157298"/>
              <a:ext cx="1711827" cy="110556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C4A5F41-49BF-E405-E2FA-C3289FF79549}"/>
                </a:ext>
              </a:extLst>
            </p:cNvPr>
            <p:cNvSpPr/>
            <p:nvPr/>
          </p:nvSpPr>
          <p:spPr>
            <a:xfrm>
              <a:off x="10163779" y="8157298"/>
              <a:ext cx="1711827" cy="110556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7F72BD7-C546-EE14-E401-FC6F33B7DF3C}"/>
                </a:ext>
              </a:extLst>
            </p:cNvPr>
            <p:cNvSpPr/>
            <p:nvPr/>
          </p:nvSpPr>
          <p:spPr>
            <a:xfrm>
              <a:off x="13175931" y="8157298"/>
              <a:ext cx="1711827" cy="110556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F60DF9-771C-88ED-C1DB-BF384AB83733}"/>
                </a:ext>
              </a:extLst>
            </p:cNvPr>
            <p:cNvSpPr/>
            <p:nvPr/>
          </p:nvSpPr>
          <p:spPr>
            <a:xfrm>
              <a:off x="16188083" y="9437668"/>
              <a:ext cx="1711827" cy="110556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7B1184F-5695-9167-78F1-C5ABE8DC7D10}"/>
                </a:ext>
              </a:extLst>
            </p:cNvPr>
            <p:cNvSpPr/>
            <p:nvPr/>
          </p:nvSpPr>
          <p:spPr>
            <a:xfrm>
              <a:off x="19200235" y="8157298"/>
              <a:ext cx="1711827" cy="110556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BBDCE41-045D-432F-85E4-4BE7CDD71114}"/>
                </a:ext>
              </a:extLst>
            </p:cNvPr>
            <p:cNvSpPr/>
            <p:nvPr/>
          </p:nvSpPr>
          <p:spPr>
            <a:xfrm>
              <a:off x="22212387" y="9437668"/>
              <a:ext cx="1711827" cy="110556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lowchart: Decision 43">
              <a:extLst>
                <a:ext uri="{FF2B5EF4-FFF2-40B4-BE49-F238E27FC236}">
                  <a16:creationId xmlns:a16="http://schemas.microsoft.com/office/drawing/2014/main" id="{89230220-A381-62CF-2D5B-97B1F7A561B3}"/>
                </a:ext>
              </a:extLst>
            </p:cNvPr>
            <p:cNvSpPr/>
            <p:nvPr/>
          </p:nvSpPr>
          <p:spPr>
            <a:xfrm>
              <a:off x="25224542" y="10776682"/>
              <a:ext cx="1436649" cy="962555"/>
            </a:xfrm>
            <a:prstGeom prst="flowChartDecisi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96EF140B-B2EE-E17B-0F69-45504D5A01C2}"/>
                </a:ext>
              </a:extLst>
            </p:cNvPr>
            <p:cNvCxnSpPr>
              <a:stCxn id="36" idx="3"/>
              <a:endCxn id="37" idx="1"/>
            </p:cNvCxnSpPr>
            <p:nvPr/>
          </p:nvCxnSpPr>
          <p:spPr>
            <a:xfrm flipV="1">
              <a:off x="5851302" y="8710083"/>
              <a:ext cx="1300325" cy="3897817"/>
            </a:xfrm>
            <a:prstGeom prst="bentConnector3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BD61A60C-CEF8-6F0D-418E-C0818611D29E}"/>
                </a:ext>
              </a:extLst>
            </p:cNvPr>
            <p:cNvCxnSpPr>
              <a:cxnSpLocks/>
              <a:stCxn id="40" idx="3"/>
              <a:endCxn id="41" idx="1"/>
            </p:cNvCxnSpPr>
            <p:nvPr/>
          </p:nvCxnSpPr>
          <p:spPr>
            <a:xfrm>
              <a:off x="14887758" y="8710083"/>
              <a:ext cx="1300325" cy="1280370"/>
            </a:xfrm>
            <a:prstGeom prst="bentConnector3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B3B4E719-9272-E728-52A1-946838EB105C}"/>
                </a:ext>
              </a:extLst>
            </p:cNvPr>
            <p:cNvCxnSpPr>
              <a:cxnSpLocks/>
              <a:stCxn id="41" idx="3"/>
              <a:endCxn id="42" idx="1"/>
            </p:cNvCxnSpPr>
            <p:nvPr/>
          </p:nvCxnSpPr>
          <p:spPr>
            <a:xfrm flipV="1">
              <a:off x="17899910" y="8710083"/>
              <a:ext cx="1300325" cy="1280370"/>
            </a:xfrm>
            <a:prstGeom prst="bentConnector3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2517F065-C881-745B-03C5-A50B61E4F4AB}"/>
                </a:ext>
              </a:extLst>
            </p:cNvPr>
            <p:cNvCxnSpPr>
              <a:cxnSpLocks/>
              <a:stCxn id="43" idx="3"/>
              <a:endCxn id="44" idx="1"/>
            </p:cNvCxnSpPr>
            <p:nvPr/>
          </p:nvCxnSpPr>
          <p:spPr>
            <a:xfrm>
              <a:off x="23924214" y="9990453"/>
              <a:ext cx="1300328" cy="1267507"/>
            </a:xfrm>
            <a:prstGeom prst="bentConnector3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FBFCF5B8-691D-DFD8-B084-E35293121560}"/>
                </a:ext>
              </a:extLst>
            </p:cNvPr>
            <p:cNvCxnSpPr>
              <a:cxnSpLocks/>
              <a:stCxn id="42" idx="3"/>
              <a:endCxn id="43" idx="1"/>
            </p:cNvCxnSpPr>
            <p:nvPr/>
          </p:nvCxnSpPr>
          <p:spPr>
            <a:xfrm>
              <a:off x="20912062" y="8710083"/>
              <a:ext cx="1300325" cy="1280370"/>
            </a:xfrm>
            <a:prstGeom prst="bentConnector3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28" name="Straight Arrow Connector 1027">
              <a:extLst>
                <a:ext uri="{FF2B5EF4-FFF2-40B4-BE49-F238E27FC236}">
                  <a16:creationId xmlns:a16="http://schemas.microsoft.com/office/drawing/2014/main" id="{693FC922-B777-A483-7568-506B449C851F}"/>
                </a:ext>
              </a:extLst>
            </p:cNvPr>
            <p:cNvCxnSpPr>
              <a:stCxn id="37" idx="3"/>
              <a:endCxn id="39" idx="1"/>
            </p:cNvCxnSpPr>
            <p:nvPr/>
          </p:nvCxnSpPr>
          <p:spPr>
            <a:xfrm>
              <a:off x="8863454" y="8710083"/>
              <a:ext cx="1300325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29" name="Straight Arrow Connector 1028">
              <a:extLst>
                <a:ext uri="{FF2B5EF4-FFF2-40B4-BE49-F238E27FC236}">
                  <a16:creationId xmlns:a16="http://schemas.microsoft.com/office/drawing/2014/main" id="{3D25AAFE-C9D6-EB6B-C625-0D334FB9AB35}"/>
                </a:ext>
              </a:extLst>
            </p:cNvPr>
            <p:cNvCxnSpPr>
              <a:cxnSpLocks/>
              <a:stCxn id="39" idx="3"/>
              <a:endCxn id="40" idx="1"/>
            </p:cNvCxnSpPr>
            <p:nvPr/>
          </p:nvCxnSpPr>
          <p:spPr>
            <a:xfrm>
              <a:off x="11875606" y="8710083"/>
              <a:ext cx="1300325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1063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2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Technolo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E9DBB6-D396-F0A9-1EF6-C642482A1B69}"/>
              </a:ext>
            </a:extLst>
          </p:cNvPr>
          <p:cNvSpPr txBox="1"/>
          <p:nvPr/>
        </p:nvSpPr>
        <p:spPr>
          <a:xfrm>
            <a:off x="2139729" y="8040259"/>
            <a:ext cx="28363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solidFill>
                  <a:schemeClr val="bg1"/>
                </a:solidFill>
              </a:rPr>
              <a:t>Data Cu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180CB9-DAAB-F0A6-C71C-82B8BDF22D4A}"/>
              </a:ext>
            </a:extLst>
          </p:cNvPr>
          <p:cNvSpPr txBox="1"/>
          <p:nvPr/>
        </p:nvSpPr>
        <p:spPr>
          <a:xfrm>
            <a:off x="13281502" y="11999114"/>
            <a:ext cx="36242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>
                <a:solidFill>
                  <a:schemeClr val="bg1"/>
                </a:solidFill>
              </a:rPr>
              <a:t>Data Cre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3D7EBD-0694-9B18-FC49-59E6968D91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3968" y="3697218"/>
            <a:ext cx="6224258" cy="55737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C9C752-BD5F-017C-1822-1B248253D334}"/>
              </a:ext>
            </a:extLst>
          </p:cNvPr>
          <p:cNvSpPr txBox="1"/>
          <p:nvPr/>
        </p:nvSpPr>
        <p:spPr>
          <a:xfrm>
            <a:off x="3930395" y="9861393"/>
            <a:ext cx="325140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912D36-3EFB-DA98-5CEB-B8414BBEC3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40390" y="3381057"/>
            <a:ext cx="7008816" cy="54446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1E54A9C-DC0F-BA59-7B86-2B58C55909DC}"/>
              </a:ext>
            </a:extLst>
          </p:cNvPr>
          <p:cNvSpPr txBox="1"/>
          <p:nvPr/>
        </p:nvSpPr>
        <p:spPr>
          <a:xfrm>
            <a:off x="13893544" y="9831678"/>
            <a:ext cx="330250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F954ED-9972-0556-C4F5-659C2FC38A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94226" y="3381057"/>
            <a:ext cx="6356567" cy="56486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1C293F2-2EEB-5CF6-98CD-3513C3907BBF}"/>
              </a:ext>
            </a:extLst>
          </p:cNvPr>
          <p:cNvSpPr txBox="1"/>
          <p:nvPr/>
        </p:nvSpPr>
        <p:spPr>
          <a:xfrm>
            <a:off x="22653229" y="9861393"/>
            <a:ext cx="503855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umption</a:t>
            </a:r>
          </a:p>
        </p:txBody>
      </p:sp>
    </p:spTree>
    <p:extLst>
      <p:ext uri="{BB962C8B-B14F-4D97-AF65-F5344CB8AC3E}">
        <p14:creationId xmlns:p14="http://schemas.microsoft.com/office/powerpoint/2010/main" val="4098253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Technology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C961301-6729-54B3-87EF-CE6C36A0DC57}"/>
              </a:ext>
            </a:extLst>
          </p:cNvPr>
          <p:cNvSpPr txBox="1">
            <a:spLocks/>
          </p:cNvSpPr>
          <p:nvPr/>
        </p:nvSpPr>
        <p:spPr>
          <a:xfrm>
            <a:off x="3256987" y="9527156"/>
            <a:ext cx="7096505" cy="2479456"/>
          </a:xfrm>
          <a:prstGeom prst="rect">
            <a:avLst/>
          </a:prstGeom>
        </p:spPr>
        <p:txBody>
          <a:bodyPr vert="horz" lIns="206777" tIns="103389" rIns="206777" bIns="103389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endParaRPr lang="en-US" sz="3166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57865C-5CFB-0144-9DA8-22CF3AC3B293}"/>
              </a:ext>
            </a:extLst>
          </p:cNvPr>
          <p:cNvSpPr/>
          <p:nvPr/>
        </p:nvSpPr>
        <p:spPr>
          <a:xfrm>
            <a:off x="21757849" y="5264532"/>
            <a:ext cx="4913330" cy="443540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70" dirty="0"/>
              <a:t>Technology Baseline Discovery Repor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34D82E-0117-3078-BA9B-C71808A915EA}"/>
              </a:ext>
            </a:extLst>
          </p:cNvPr>
          <p:cNvSpPr/>
          <p:nvPr/>
        </p:nvSpPr>
        <p:spPr>
          <a:xfrm>
            <a:off x="21757849" y="10962970"/>
            <a:ext cx="4913330" cy="168222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166" dirty="0"/>
              <a:t>Technology Landscaping Optimization Report/Recommenda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5FA257-2172-B77B-41AB-3EF691BF9E2E}"/>
              </a:ext>
            </a:extLst>
          </p:cNvPr>
          <p:cNvSpPr/>
          <p:nvPr/>
        </p:nvSpPr>
        <p:spPr>
          <a:xfrm>
            <a:off x="21757851" y="2451885"/>
            <a:ext cx="4913330" cy="122289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70" dirty="0"/>
              <a:t>Master Software Li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BF92CA9-95F8-914C-373B-7347E6946956}"/>
              </a:ext>
            </a:extLst>
          </p:cNvPr>
          <p:cNvSpPr/>
          <p:nvPr/>
        </p:nvSpPr>
        <p:spPr>
          <a:xfrm>
            <a:off x="3411908" y="3985137"/>
            <a:ext cx="5411305" cy="18753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Confirm what we ha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28E952-E210-9D6A-4E7B-241C941FB38E}"/>
              </a:ext>
            </a:extLst>
          </p:cNvPr>
          <p:cNvSpPr/>
          <p:nvPr/>
        </p:nvSpPr>
        <p:spPr>
          <a:xfrm>
            <a:off x="3411908" y="9741549"/>
            <a:ext cx="5411305" cy="187534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Rationalize and Optimize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1940507-EC7C-9DBD-26A2-97CD7AF832D2}"/>
              </a:ext>
            </a:extLst>
          </p:cNvPr>
          <p:cNvSpPr/>
          <p:nvPr/>
        </p:nvSpPr>
        <p:spPr>
          <a:xfrm>
            <a:off x="12082955" y="2602478"/>
            <a:ext cx="6260224" cy="9217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/>
              <a:t>Define what ‘technology’ is in the Engineering Depart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2D63109-0FE7-8579-3EC1-8E77AE20C7F3}"/>
              </a:ext>
            </a:extLst>
          </p:cNvPr>
          <p:cNvSpPr/>
          <p:nvPr/>
        </p:nvSpPr>
        <p:spPr>
          <a:xfrm>
            <a:off x="12082957" y="4041152"/>
            <a:ext cx="6260226" cy="12228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/>
              <a:t>Confirm technology provi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3FAD2E-2DC3-081B-D046-4414DBC03546}"/>
              </a:ext>
            </a:extLst>
          </p:cNvPr>
          <p:cNvSpPr/>
          <p:nvPr/>
        </p:nvSpPr>
        <p:spPr>
          <a:xfrm>
            <a:off x="12082957" y="5741609"/>
            <a:ext cx="6260226" cy="12228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/>
              <a:t>Map against lifecycle, division, and capability / servi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8C7406-12AB-860F-D543-3CEA2483B935}"/>
              </a:ext>
            </a:extLst>
          </p:cNvPr>
          <p:cNvSpPr/>
          <p:nvPr/>
        </p:nvSpPr>
        <p:spPr>
          <a:xfrm>
            <a:off x="12082954" y="7621115"/>
            <a:ext cx="6260226" cy="12228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>
                <a:solidFill>
                  <a:schemeClr val="bg1"/>
                </a:solidFill>
              </a:rPr>
              <a:t>Confirm strengths and weakness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7980EE8-4580-01DA-216E-850478CDAA30}"/>
              </a:ext>
            </a:extLst>
          </p:cNvPr>
          <p:cNvSpPr/>
          <p:nvPr/>
        </p:nvSpPr>
        <p:spPr>
          <a:xfrm>
            <a:off x="12082953" y="9749440"/>
            <a:ext cx="6260224" cy="92978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/>
              <a:t>Define technical and functional requirements per user group / techn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C1A321-1BF6-7D35-0282-58E1AC379423}"/>
              </a:ext>
            </a:extLst>
          </p:cNvPr>
          <p:cNvSpPr/>
          <p:nvPr/>
        </p:nvSpPr>
        <p:spPr>
          <a:xfrm>
            <a:off x="12082952" y="11201078"/>
            <a:ext cx="6260226" cy="12228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74" dirty="0"/>
              <a:t>Analyze any interdependencies and overlaps between technology and eliminate overlaps and redundancy</a:t>
            </a:r>
          </a:p>
        </p:txBody>
      </p:sp>
      <p:cxnSp>
        <p:nvCxnSpPr>
          <p:cNvPr id="15" name="Connector: Curved 14">
            <a:extLst>
              <a:ext uri="{FF2B5EF4-FFF2-40B4-BE49-F238E27FC236}">
                <a16:creationId xmlns:a16="http://schemas.microsoft.com/office/drawing/2014/main" id="{340242B0-4E94-240F-1CA9-F1809B226F82}"/>
              </a:ext>
            </a:extLst>
          </p:cNvPr>
          <p:cNvCxnSpPr>
            <a:stCxn id="7" idx="3"/>
            <a:endCxn id="9" idx="1"/>
          </p:cNvCxnSpPr>
          <p:nvPr/>
        </p:nvCxnSpPr>
        <p:spPr>
          <a:xfrm flipV="1">
            <a:off x="8823213" y="3063333"/>
            <a:ext cx="3259742" cy="1859478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Curved 15">
            <a:extLst>
              <a:ext uri="{FF2B5EF4-FFF2-40B4-BE49-F238E27FC236}">
                <a16:creationId xmlns:a16="http://schemas.microsoft.com/office/drawing/2014/main" id="{182DE3DE-3F86-A4B8-9D4A-DB706751E534}"/>
              </a:ext>
            </a:extLst>
          </p:cNvPr>
          <p:cNvCxnSpPr>
            <a:stCxn id="7" idx="3"/>
            <a:endCxn id="10" idx="1"/>
          </p:cNvCxnSpPr>
          <p:nvPr/>
        </p:nvCxnSpPr>
        <p:spPr>
          <a:xfrm flipV="1">
            <a:off x="8823212" y="4652601"/>
            <a:ext cx="3259743" cy="270210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5C9205B3-0293-44C1-2613-29E598805EAA}"/>
              </a:ext>
            </a:extLst>
          </p:cNvPr>
          <p:cNvCxnSpPr>
            <a:stCxn id="7" idx="3"/>
            <a:endCxn id="11" idx="1"/>
          </p:cNvCxnSpPr>
          <p:nvPr/>
        </p:nvCxnSpPr>
        <p:spPr>
          <a:xfrm>
            <a:off x="8823212" y="4922812"/>
            <a:ext cx="3259743" cy="1430247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53660D03-5147-BE52-DD08-93AA676412D7}"/>
              </a:ext>
            </a:extLst>
          </p:cNvPr>
          <p:cNvCxnSpPr>
            <a:stCxn id="7" idx="3"/>
            <a:endCxn id="12" idx="1"/>
          </p:cNvCxnSpPr>
          <p:nvPr/>
        </p:nvCxnSpPr>
        <p:spPr>
          <a:xfrm>
            <a:off x="8823213" y="4922811"/>
            <a:ext cx="3259741" cy="3309753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Curved 18">
            <a:extLst>
              <a:ext uri="{FF2B5EF4-FFF2-40B4-BE49-F238E27FC236}">
                <a16:creationId xmlns:a16="http://schemas.microsoft.com/office/drawing/2014/main" id="{13EBE32F-606A-8805-8325-BA6A1B6786EE}"/>
              </a:ext>
            </a:extLst>
          </p:cNvPr>
          <p:cNvCxnSpPr>
            <a:cxnSpLocks/>
            <a:stCxn id="8" idx="3"/>
            <a:endCxn id="13" idx="1"/>
          </p:cNvCxnSpPr>
          <p:nvPr/>
        </p:nvCxnSpPr>
        <p:spPr>
          <a:xfrm flipV="1">
            <a:off x="8823213" y="10214332"/>
            <a:ext cx="3259741" cy="464891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Curved 19">
            <a:extLst>
              <a:ext uri="{FF2B5EF4-FFF2-40B4-BE49-F238E27FC236}">
                <a16:creationId xmlns:a16="http://schemas.microsoft.com/office/drawing/2014/main" id="{927B4B3F-A31B-FFA1-CD90-2BAFA2331C6C}"/>
              </a:ext>
            </a:extLst>
          </p:cNvPr>
          <p:cNvCxnSpPr>
            <a:stCxn id="8" idx="3"/>
            <a:endCxn id="14" idx="1"/>
          </p:cNvCxnSpPr>
          <p:nvPr/>
        </p:nvCxnSpPr>
        <p:spPr>
          <a:xfrm>
            <a:off x="8823212" y="10679223"/>
            <a:ext cx="3259739" cy="1133303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CEF5E617-38DF-0929-88DF-7B9F9B3BDBD5}"/>
              </a:ext>
            </a:extLst>
          </p:cNvPr>
          <p:cNvCxnSpPr>
            <a:stCxn id="9" idx="3"/>
            <a:endCxn id="6" idx="1"/>
          </p:cNvCxnSpPr>
          <p:nvPr/>
        </p:nvCxnSpPr>
        <p:spPr>
          <a:xfrm>
            <a:off x="18343179" y="3063333"/>
            <a:ext cx="3414672" cy="12700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Curved 21">
            <a:extLst>
              <a:ext uri="{FF2B5EF4-FFF2-40B4-BE49-F238E27FC236}">
                <a16:creationId xmlns:a16="http://schemas.microsoft.com/office/drawing/2014/main" id="{BDFDE1ED-BFB9-1408-7351-E385D9D28B91}"/>
              </a:ext>
            </a:extLst>
          </p:cNvPr>
          <p:cNvCxnSpPr>
            <a:cxnSpLocks/>
            <a:stCxn id="10" idx="3"/>
            <a:endCxn id="3" idx="1"/>
          </p:cNvCxnSpPr>
          <p:nvPr/>
        </p:nvCxnSpPr>
        <p:spPr>
          <a:xfrm>
            <a:off x="18343183" y="4652600"/>
            <a:ext cx="3414666" cy="2829632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Curved 22">
            <a:extLst>
              <a:ext uri="{FF2B5EF4-FFF2-40B4-BE49-F238E27FC236}">
                <a16:creationId xmlns:a16="http://schemas.microsoft.com/office/drawing/2014/main" id="{843BE23F-D316-8F7E-D9FF-F99E5CFFD4CB}"/>
              </a:ext>
            </a:extLst>
          </p:cNvPr>
          <p:cNvCxnSpPr>
            <a:cxnSpLocks/>
            <a:stCxn id="11" idx="3"/>
            <a:endCxn id="3" idx="1"/>
          </p:cNvCxnSpPr>
          <p:nvPr/>
        </p:nvCxnSpPr>
        <p:spPr>
          <a:xfrm>
            <a:off x="18343183" y="6353058"/>
            <a:ext cx="3414666" cy="1129174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Curved 23">
            <a:extLst>
              <a:ext uri="{FF2B5EF4-FFF2-40B4-BE49-F238E27FC236}">
                <a16:creationId xmlns:a16="http://schemas.microsoft.com/office/drawing/2014/main" id="{3C3E93EC-BE40-9A66-8B1B-D6BD60C75540}"/>
              </a:ext>
            </a:extLst>
          </p:cNvPr>
          <p:cNvCxnSpPr>
            <a:cxnSpLocks/>
            <a:stCxn id="12" idx="3"/>
            <a:endCxn id="3" idx="1"/>
          </p:cNvCxnSpPr>
          <p:nvPr/>
        </p:nvCxnSpPr>
        <p:spPr>
          <a:xfrm flipV="1">
            <a:off x="18343179" y="7482232"/>
            <a:ext cx="3414668" cy="750332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Curved 24">
            <a:extLst>
              <a:ext uri="{FF2B5EF4-FFF2-40B4-BE49-F238E27FC236}">
                <a16:creationId xmlns:a16="http://schemas.microsoft.com/office/drawing/2014/main" id="{F2CA0ABB-7A4D-7CD0-39A5-BBF7635F0166}"/>
              </a:ext>
            </a:extLst>
          </p:cNvPr>
          <p:cNvCxnSpPr>
            <a:cxnSpLocks/>
            <a:stCxn id="13" idx="3"/>
            <a:endCxn id="3" idx="1"/>
          </p:cNvCxnSpPr>
          <p:nvPr/>
        </p:nvCxnSpPr>
        <p:spPr>
          <a:xfrm flipV="1">
            <a:off x="18343178" y="7482232"/>
            <a:ext cx="3414670" cy="2732100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Curved 25">
            <a:extLst>
              <a:ext uri="{FF2B5EF4-FFF2-40B4-BE49-F238E27FC236}">
                <a16:creationId xmlns:a16="http://schemas.microsoft.com/office/drawing/2014/main" id="{04483A41-0D02-87FC-52F5-C3B94B10CB50}"/>
              </a:ext>
            </a:extLst>
          </p:cNvPr>
          <p:cNvCxnSpPr>
            <a:stCxn id="14" idx="3"/>
            <a:endCxn id="4" idx="1"/>
          </p:cNvCxnSpPr>
          <p:nvPr/>
        </p:nvCxnSpPr>
        <p:spPr>
          <a:xfrm flipV="1">
            <a:off x="18343178" y="11804083"/>
            <a:ext cx="3414670" cy="8444"/>
          </a:xfrm>
          <a:prstGeom prst="curvedConnector3">
            <a:avLst/>
          </a:prstGeom>
          <a:ln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Arrow: Down 26">
            <a:extLst>
              <a:ext uri="{FF2B5EF4-FFF2-40B4-BE49-F238E27FC236}">
                <a16:creationId xmlns:a16="http://schemas.microsoft.com/office/drawing/2014/main" id="{1CB95D0A-3B8B-AD40-D723-EB0CF99C030E}"/>
              </a:ext>
            </a:extLst>
          </p:cNvPr>
          <p:cNvSpPr/>
          <p:nvPr/>
        </p:nvSpPr>
        <p:spPr>
          <a:xfrm>
            <a:off x="23920474" y="4248955"/>
            <a:ext cx="531171" cy="749074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70"/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6095DEA8-6003-1A26-2B66-776DD7F3FF9D}"/>
              </a:ext>
            </a:extLst>
          </p:cNvPr>
          <p:cNvSpPr/>
          <p:nvPr/>
        </p:nvSpPr>
        <p:spPr>
          <a:xfrm>
            <a:off x="23920474" y="9956912"/>
            <a:ext cx="531171" cy="749074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70"/>
          </a:p>
        </p:txBody>
      </p:sp>
    </p:spTree>
    <p:extLst>
      <p:ext uri="{BB962C8B-B14F-4D97-AF65-F5344CB8AC3E}">
        <p14:creationId xmlns:p14="http://schemas.microsoft.com/office/powerpoint/2010/main" val="1853494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7" grpId="0" animBg="1"/>
      <p:bldP spid="2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BDF43AA-8E03-E06D-EE32-C235E8CA85E0}"/>
              </a:ext>
            </a:extLst>
          </p:cNvPr>
          <p:cNvSpPr/>
          <p:nvPr/>
        </p:nvSpPr>
        <p:spPr>
          <a:xfrm>
            <a:off x="15352295" y="2671011"/>
            <a:ext cx="12127831" cy="859054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 b="1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les and Responsibilities</a:t>
            </a:r>
            <a:endParaRPr lang="en-US" sz="240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F2CAB765-5C44-9A01-B13C-ADA2A85165AA}"/>
              </a:ext>
            </a:extLst>
          </p:cNvPr>
          <p:cNvSpPr txBox="1"/>
          <p:nvPr/>
        </p:nvSpPr>
        <p:spPr>
          <a:xfrm>
            <a:off x="2801165" y="11517461"/>
            <a:ext cx="7679507" cy="120032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>
                <a:latin typeface="Segoe UI" panose="020B0502040204020203" pitchFamily="34" charset="0"/>
                <a:cs typeface="Segoe UI" panose="020B0502040204020203" pitchFamily="34" charset="0"/>
              </a:rPr>
              <a:t>10 Data</a:t>
            </a:r>
            <a:r>
              <a:rPr lang="en-US" sz="3600" baseline="0">
                <a:latin typeface="Segoe UI" panose="020B0502040204020203" pitchFamily="34" charset="0"/>
                <a:cs typeface="Segoe UI" panose="020B0502040204020203" pitchFamily="34" charset="0"/>
              </a:rPr>
              <a:t> Governance Knowledge Areas</a:t>
            </a:r>
            <a:endParaRPr lang="en-US" sz="36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3603BF97-9CEB-E328-68B8-877AE0278AC2}"/>
              </a:ext>
            </a:extLst>
          </p:cNvPr>
          <p:cNvSpPr txBox="1"/>
          <p:nvPr/>
        </p:nvSpPr>
        <p:spPr>
          <a:xfrm>
            <a:off x="15352295" y="11517461"/>
            <a:ext cx="12127831" cy="64633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lIns="91440" tIns="45720" rIns="91440" bIns="45720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>
                <a:latin typeface="Segoe UI" panose="020B0502040204020203" pitchFamily="34" charset="0"/>
                <a:cs typeface="Segoe UI" panose="020B0502040204020203" pitchFamily="34" charset="0"/>
              </a:rPr>
              <a:t>5 Data</a:t>
            </a:r>
            <a:r>
              <a:rPr lang="en-US" sz="3600" baseline="0">
                <a:latin typeface="Segoe UI" panose="020B0502040204020203" pitchFamily="34" charset="0"/>
                <a:cs typeface="Segoe UI" panose="020B0502040204020203" pitchFamily="34" charset="0"/>
              </a:rPr>
              <a:t> Governance Buckets</a:t>
            </a:r>
            <a:r>
              <a:rPr lang="en-US" sz="3600">
                <a:latin typeface="Segoe UI" panose="020B0502040204020203" pitchFamily="34" charset="0"/>
                <a:cs typeface="Segoe UI" panose="020B0502040204020203" pitchFamily="34" charset="0"/>
              </a:rPr>
              <a:t> Aligned to our Strategic Goal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65671E1-E336-9918-A09A-2877D923F5EF}"/>
              </a:ext>
            </a:extLst>
          </p:cNvPr>
          <p:cNvGrpSpPr/>
          <p:nvPr/>
        </p:nvGrpSpPr>
        <p:grpSpPr>
          <a:xfrm>
            <a:off x="16469806" y="3337472"/>
            <a:ext cx="8672507" cy="6949566"/>
            <a:chOff x="15671798" y="3175000"/>
            <a:chExt cx="8672507" cy="694956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FB15F4-7D70-6E86-77E2-17903C622636}"/>
                </a:ext>
              </a:extLst>
            </p:cNvPr>
            <p:cNvSpPr/>
            <p:nvPr/>
          </p:nvSpPr>
          <p:spPr>
            <a:xfrm>
              <a:off x="15671800" y="3175000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Requirements definition, capture and specificatio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83BEDF8-4F32-4716-1729-41EE4496ED29}"/>
                </a:ext>
              </a:extLst>
            </p:cNvPr>
            <p:cNvSpPr/>
            <p:nvPr/>
          </p:nvSpPr>
          <p:spPr>
            <a:xfrm>
              <a:off x="15671799" y="5023351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Creation, collection and management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292FA80-5AA5-A871-D1FF-F72B1A0360A5}"/>
                </a:ext>
              </a:extLst>
            </p:cNvPr>
            <p:cNvSpPr/>
            <p:nvPr/>
          </p:nvSpPr>
          <p:spPr>
            <a:xfrm>
              <a:off x="15671799" y="6871702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Quality assurance, control and feedback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65A0B32-6A1A-A6BF-8C0A-8075BD22808E}"/>
                </a:ext>
              </a:extLst>
            </p:cNvPr>
            <p:cNvSpPr/>
            <p:nvPr/>
          </p:nvSpPr>
          <p:spPr>
            <a:xfrm>
              <a:off x="15671799" y="8638666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Analytics and migration</a:t>
              </a:r>
            </a:p>
          </p:txBody>
        </p:sp>
        <p:sp>
          <p:nvSpPr>
            <p:cNvPr id="12" name="Arrow: Down 11">
              <a:extLst>
                <a:ext uri="{FF2B5EF4-FFF2-40B4-BE49-F238E27FC236}">
                  <a16:creationId xmlns:a16="http://schemas.microsoft.com/office/drawing/2014/main" id="{3278D919-8105-FC2D-2092-355BF2BEB020}"/>
                </a:ext>
              </a:extLst>
            </p:cNvPr>
            <p:cNvSpPr/>
            <p:nvPr/>
          </p:nvSpPr>
          <p:spPr>
            <a:xfrm>
              <a:off x="19233350" y="6504394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Arrow: Down 12">
              <a:extLst>
                <a:ext uri="{FF2B5EF4-FFF2-40B4-BE49-F238E27FC236}">
                  <a16:creationId xmlns:a16="http://schemas.microsoft.com/office/drawing/2014/main" id="{59FB0AEB-AAF1-619C-4F2B-5AF29E10A66D}"/>
                </a:ext>
              </a:extLst>
            </p:cNvPr>
            <p:cNvSpPr/>
            <p:nvPr/>
          </p:nvSpPr>
          <p:spPr>
            <a:xfrm>
              <a:off x="15671798" y="4656068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Arrow: Down 13">
              <a:extLst>
                <a:ext uri="{FF2B5EF4-FFF2-40B4-BE49-F238E27FC236}">
                  <a16:creationId xmlns:a16="http://schemas.microsoft.com/office/drawing/2014/main" id="{DF6FA778-009A-596D-23D7-0AA26EAE3327}"/>
                </a:ext>
              </a:extLst>
            </p:cNvPr>
            <p:cNvSpPr/>
            <p:nvPr/>
          </p:nvSpPr>
          <p:spPr>
            <a:xfrm>
              <a:off x="22823764" y="8313622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2DCF3E-78CF-BE37-B007-74299F1775AD}"/>
              </a:ext>
            </a:extLst>
          </p:cNvPr>
          <p:cNvGrpSpPr>
            <a:grpSpLocks noChangeAspect="1"/>
          </p:cNvGrpSpPr>
          <p:nvPr/>
        </p:nvGrpSpPr>
        <p:grpSpPr>
          <a:xfrm>
            <a:off x="2801168" y="2877959"/>
            <a:ext cx="7679507" cy="7679516"/>
            <a:chOff x="2662236" y="1762119"/>
            <a:chExt cx="3600000" cy="3600006"/>
          </a:xfrm>
          <a:solidFill>
            <a:schemeClr val="accent2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31A9667-968D-5BA9-0E72-3095D67ADD97}"/>
                </a:ext>
              </a:extLst>
            </p:cNvPr>
            <p:cNvSpPr/>
            <p:nvPr/>
          </p:nvSpPr>
          <p:spPr>
            <a:xfrm>
              <a:off x="3922236" y="3022119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3175" cmpd="sng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</a:t>
              </a:r>
            </a:p>
            <a:p>
              <a:pPr algn="ctr"/>
              <a:r>
                <a:rPr lang="en-GB" sz="2000" b="1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overnance</a:t>
              </a: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A5ED141F-73D3-5B0E-EA9E-E9831CD917C1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10800000"/>
                <a:gd name="adj2" fmla="val 12965714"/>
                <a:gd name="adj3" fmla="val 35180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tadata</a:t>
              </a:r>
            </a:p>
          </p:txBody>
        </p:sp>
        <p:sp>
          <p:nvSpPr>
            <p:cNvPr id="18" name="Block Arc 17">
              <a:extLst>
                <a:ext uri="{FF2B5EF4-FFF2-40B4-BE49-F238E27FC236}">
                  <a16:creationId xmlns:a16="http://schemas.microsoft.com/office/drawing/2014/main" id="{376E4498-2B46-602F-33EC-94FDF35ADA04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12969483"/>
                <a:gd name="adj2" fmla="val 15117669"/>
                <a:gd name="adj3" fmla="val 35253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Quality</a:t>
              </a:r>
            </a:p>
          </p:txBody>
        </p:sp>
        <p:sp>
          <p:nvSpPr>
            <p:cNvPr id="19" name="Block Arc 18">
              <a:extLst>
                <a:ext uri="{FF2B5EF4-FFF2-40B4-BE49-F238E27FC236}">
                  <a16:creationId xmlns:a16="http://schemas.microsoft.com/office/drawing/2014/main" id="{2E80E968-2969-EC48-DCE9-AAADF5274D8B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15117858"/>
                <a:gd name="adj2" fmla="val 17281216"/>
                <a:gd name="adj3" fmla="val 35255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rchitecture</a:t>
              </a:r>
            </a:p>
          </p:txBody>
        </p:sp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6F05A755-F2CC-E051-0BB4-E1FDF0F9B848}"/>
                </a:ext>
              </a:extLst>
            </p:cNvPr>
            <p:cNvSpPr/>
            <p:nvPr/>
          </p:nvSpPr>
          <p:spPr>
            <a:xfrm>
              <a:off x="2662236" y="1762121"/>
              <a:ext cx="3600000" cy="3600000"/>
            </a:xfrm>
            <a:prstGeom prst="blockArc">
              <a:avLst>
                <a:gd name="adj1" fmla="val 17282885"/>
                <a:gd name="adj2" fmla="val 19437081"/>
                <a:gd name="adj3" fmla="val 35278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Modelling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Design</a:t>
              </a: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1C1AA267-7815-5356-A924-3070D5B5E3FE}"/>
                </a:ext>
              </a:extLst>
            </p:cNvPr>
            <p:cNvSpPr/>
            <p:nvPr/>
          </p:nvSpPr>
          <p:spPr>
            <a:xfrm>
              <a:off x="2662236" y="1762124"/>
              <a:ext cx="3600000" cy="3600000"/>
            </a:xfrm>
            <a:prstGeom prst="blockArc">
              <a:avLst>
                <a:gd name="adj1" fmla="val 19436870"/>
                <a:gd name="adj2" fmla="val 377"/>
                <a:gd name="adj3" fmla="val 35319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torage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Operations</a:t>
              </a:r>
            </a:p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" name="Block Arc 21">
              <a:extLst>
                <a:ext uri="{FF2B5EF4-FFF2-40B4-BE49-F238E27FC236}">
                  <a16:creationId xmlns:a16="http://schemas.microsoft.com/office/drawing/2014/main" id="{DEFAE95B-2208-0F4F-A61C-66DDA7549925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719"/>
                <a:gd name="adj2" fmla="val 2172671"/>
                <a:gd name="adj3" fmla="val 35331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Integration &amp; Interoperability</a:t>
              </a:r>
            </a:p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Block Arc 22">
              <a:extLst>
                <a:ext uri="{FF2B5EF4-FFF2-40B4-BE49-F238E27FC236}">
                  <a16:creationId xmlns:a16="http://schemas.microsoft.com/office/drawing/2014/main" id="{854B556D-9208-18DD-A1CA-711CBDD0EC37}"/>
                </a:ext>
              </a:extLst>
            </p:cNvPr>
            <p:cNvSpPr/>
            <p:nvPr/>
          </p:nvSpPr>
          <p:spPr>
            <a:xfrm>
              <a:off x="2662236" y="1762123"/>
              <a:ext cx="3600000" cy="3600000"/>
            </a:xfrm>
            <a:prstGeom prst="blockArc">
              <a:avLst>
                <a:gd name="adj1" fmla="val 2171227"/>
                <a:gd name="adj2" fmla="val 4329101"/>
                <a:gd name="adj3" fmla="val 35337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Security</a:t>
              </a:r>
            </a:p>
          </p:txBody>
        </p:sp>
        <p:sp>
          <p:nvSpPr>
            <p:cNvPr id="24" name="Block Arc 23">
              <a:extLst>
                <a:ext uri="{FF2B5EF4-FFF2-40B4-BE49-F238E27FC236}">
                  <a16:creationId xmlns:a16="http://schemas.microsoft.com/office/drawing/2014/main" id="{454BC257-4A90-EBD2-7DB8-B22FA4CC0021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4327657"/>
                <a:gd name="adj2" fmla="val 6482342"/>
                <a:gd name="adj3" fmla="val 35251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ocument &amp; Content Management</a:t>
              </a:r>
            </a:p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Block Arc 24">
              <a:extLst>
                <a:ext uri="{FF2B5EF4-FFF2-40B4-BE49-F238E27FC236}">
                  <a16:creationId xmlns:a16="http://schemas.microsoft.com/office/drawing/2014/main" id="{E67C1083-CA30-7563-0FE4-166061D1592A}"/>
                </a:ext>
              </a:extLst>
            </p:cNvPr>
            <p:cNvSpPr/>
            <p:nvPr/>
          </p:nvSpPr>
          <p:spPr>
            <a:xfrm>
              <a:off x="2662236" y="1762119"/>
              <a:ext cx="3600000" cy="3600000"/>
            </a:xfrm>
            <a:prstGeom prst="blockArc">
              <a:avLst>
                <a:gd name="adj1" fmla="val 6482824"/>
                <a:gd name="adj2" fmla="val 8655401"/>
                <a:gd name="adj3" fmla="val 35164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ference &amp;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ster Data</a:t>
              </a:r>
            </a:p>
          </p:txBody>
        </p:sp>
        <p:sp>
          <p:nvSpPr>
            <p:cNvPr id="26" name="Block Arc 25">
              <a:extLst>
                <a:ext uri="{FF2B5EF4-FFF2-40B4-BE49-F238E27FC236}">
                  <a16:creationId xmlns:a16="http://schemas.microsoft.com/office/drawing/2014/main" id="{34A372BF-202A-B631-D108-7D9DD1F81A73}"/>
                </a:ext>
              </a:extLst>
            </p:cNvPr>
            <p:cNvSpPr/>
            <p:nvPr/>
          </p:nvSpPr>
          <p:spPr>
            <a:xfrm>
              <a:off x="2662236" y="1762125"/>
              <a:ext cx="3600000" cy="3600000"/>
            </a:xfrm>
            <a:prstGeom prst="blockArc">
              <a:avLst>
                <a:gd name="adj1" fmla="val 8652520"/>
                <a:gd name="adj2" fmla="val 10799620"/>
                <a:gd name="adj3" fmla="val 35180"/>
              </a:avLst>
            </a:prstGeom>
            <a:grpFill/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sz="2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ata Warehousing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amp; Business</a:t>
              </a:r>
            </a:p>
            <a:p>
              <a:pPr algn="ctr"/>
              <a:r>
                <a:rPr lang="en-GB" sz="2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telligence</a:t>
              </a:r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47EC6375-0C4E-0122-3EC6-957A95F8C22C}"/>
              </a:ext>
            </a:extLst>
          </p:cNvPr>
          <p:cNvSpPr/>
          <p:nvPr/>
        </p:nvSpPr>
        <p:spPr>
          <a:xfrm>
            <a:off x="25236408" y="3432904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F431B64-1975-E6FA-0075-1D21C4735D19}"/>
              </a:ext>
            </a:extLst>
          </p:cNvPr>
          <p:cNvSpPr/>
          <p:nvPr/>
        </p:nvSpPr>
        <p:spPr>
          <a:xfrm>
            <a:off x="25236408" y="5255042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21B3245-146E-0E50-497B-E9A1795AB6AD}"/>
              </a:ext>
            </a:extLst>
          </p:cNvPr>
          <p:cNvSpPr/>
          <p:nvPr/>
        </p:nvSpPr>
        <p:spPr>
          <a:xfrm>
            <a:off x="25236408" y="7077180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AF67F26-E715-C28A-DD82-767A41E1614B}"/>
              </a:ext>
            </a:extLst>
          </p:cNvPr>
          <p:cNvSpPr/>
          <p:nvPr/>
        </p:nvSpPr>
        <p:spPr>
          <a:xfrm>
            <a:off x="25236408" y="8899318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9792E2-4E92-DCFF-A6EC-15D99DD21733}"/>
              </a:ext>
            </a:extLst>
          </p:cNvPr>
          <p:cNvSpPr/>
          <p:nvPr/>
        </p:nvSpPr>
        <p:spPr>
          <a:xfrm>
            <a:off x="15075812" y="2233189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2843D3D-BF4C-DE25-5053-AE6C08A9415C}"/>
              </a:ext>
            </a:extLst>
          </p:cNvPr>
          <p:cNvGrpSpPr/>
          <p:nvPr/>
        </p:nvGrpSpPr>
        <p:grpSpPr>
          <a:xfrm>
            <a:off x="16469806" y="3337472"/>
            <a:ext cx="8672507" cy="6949566"/>
            <a:chOff x="16469806" y="3337472"/>
            <a:chExt cx="8672507" cy="694956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119C526-2884-3E08-A292-49D54583DC98}"/>
                </a:ext>
              </a:extLst>
            </p:cNvPr>
            <p:cNvSpPr/>
            <p:nvPr/>
          </p:nvSpPr>
          <p:spPr>
            <a:xfrm>
              <a:off x="16469808" y="3337472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Requirements definition, capture and specificatio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8E84C59-7B8D-7830-743D-6685A2BCE45A}"/>
                </a:ext>
              </a:extLst>
            </p:cNvPr>
            <p:cNvSpPr/>
            <p:nvPr/>
          </p:nvSpPr>
          <p:spPr>
            <a:xfrm>
              <a:off x="16469807" y="5185823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Creation, collection and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25B89D9-EBCF-4673-A3BD-2EB78E23A1A1}"/>
                </a:ext>
              </a:extLst>
            </p:cNvPr>
            <p:cNvSpPr/>
            <p:nvPr/>
          </p:nvSpPr>
          <p:spPr>
            <a:xfrm>
              <a:off x="16469807" y="7034174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Quality assurance, control and feedback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C0DC91C-FD62-11E0-FF02-F48609D049EB}"/>
                </a:ext>
              </a:extLst>
            </p:cNvPr>
            <p:cNvSpPr/>
            <p:nvPr/>
          </p:nvSpPr>
          <p:spPr>
            <a:xfrm>
              <a:off x="16469807" y="8801138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Analytics and migration</a:t>
              </a:r>
            </a:p>
          </p:txBody>
        </p:sp>
        <p:sp>
          <p:nvSpPr>
            <p:cNvPr id="37" name="Arrow: Down 36">
              <a:extLst>
                <a:ext uri="{FF2B5EF4-FFF2-40B4-BE49-F238E27FC236}">
                  <a16:creationId xmlns:a16="http://schemas.microsoft.com/office/drawing/2014/main" id="{6A62E06F-E90B-4FE5-5B2B-D63FDBEDE213}"/>
                </a:ext>
              </a:extLst>
            </p:cNvPr>
            <p:cNvSpPr/>
            <p:nvPr/>
          </p:nvSpPr>
          <p:spPr>
            <a:xfrm>
              <a:off x="20031358" y="6666866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8" name="Arrow: Down 37">
              <a:extLst>
                <a:ext uri="{FF2B5EF4-FFF2-40B4-BE49-F238E27FC236}">
                  <a16:creationId xmlns:a16="http://schemas.microsoft.com/office/drawing/2014/main" id="{8CD60EDD-DEE2-A986-4D38-EAA8BBD35C3B}"/>
                </a:ext>
              </a:extLst>
            </p:cNvPr>
            <p:cNvSpPr/>
            <p:nvPr/>
          </p:nvSpPr>
          <p:spPr>
            <a:xfrm>
              <a:off x="16469806" y="4818540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9" name="Arrow: Down 38">
              <a:extLst>
                <a:ext uri="{FF2B5EF4-FFF2-40B4-BE49-F238E27FC236}">
                  <a16:creationId xmlns:a16="http://schemas.microsoft.com/office/drawing/2014/main" id="{008A1510-545B-09C7-0D02-046517A742B2}"/>
                </a:ext>
              </a:extLst>
            </p:cNvPr>
            <p:cNvSpPr/>
            <p:nvPr/>
          </p:nvSpPr>
          <p:spPr>
            <a:xfrm>
              <a:off x="23621772" y="8476094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78C9EADE-0AC0-7A8E-80A3-90B629AC5DBA}"/>
              </a:ext>
            </a:extLst>
          </p:cNvPr>
          <p:cNvSpPr/>
          <p:nvPr/>
        </p:nvSpPr>
        <p:spPr>
          <a:xfrm>
            <a:off x="25236408" y="3432904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021DD1C-2758-4902-AAED-6DD853679B8B}"/>
              </a:ext>
            </a:extLst>
          </p:cNvPr>
          <p:cNvSpPr/>
          <p:nvPr/>
        </p:nvSpPr>
        <p:spPr>
          <a:xfrm>
            <a:off x="25236408" y="5255042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00A3B11A-3A54-F599-C2A9-D634DBB63672}"/>
              </a:ext>
            </a:extLst>
          </p:cNvPr>
          <p:cNvSpPr/>
          <p:nvPr/>
        </p:nvSpPr>
        <p:spPr>
          <a:xfrm>
            <a:off x="25236408" y="7077180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5D1CF70-C88E-A50E-AF2E-F254422770D9}"/>
              </a:ext>
            </a:extLst>
          </p:cNvPr>
          <p:cNvSpPr/>
          <p:nvPr/>
        </p:nvSpPr>
        <p:spPr>
          <a:xfrm>
            <a:off x="25236408" y="8899318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7FA5E6F8-C7FD-E6AC-BAE0-344068506AF7}"/>
              </a:ext>
            </a:extLst>
          </p:cNvPr>
          <p:cNvSpPr/>
          <p:nvPr/>
        </p:nvSpPr>
        <p:spPr>
          <a:xfrm>
            <a:off x="15075812" y="2233189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993A0035-4535-D99B-273A-0DA20FAEE17D}"/>
              </a:ext>
            </a:extLst>
          </p:cNvPr>
          <p:cNvSpPr/>
          <p:nvPr/>
        </p:nvSpPr>
        <p:spPr>
          <a:xfrm>
            <a:off x="15352295" y="2671011"/>
            <a:ext cx="12127831" cy="859054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 b="1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8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les and Responsibilities</a:t>
            </a:r>
            <a:endParaRPr lang="en-US" sz="240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2400">
              <a:solidFill>
                <a:srgbClr val="FF292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D204C74-48A0-EEB1-1DE3-CE4BA577D2EC}"/>
              </a:ext>
            </a:extLst>
          </p:cNvPr>
          <p:cNvGrpSpPr/>
          <p:nvPr/>
        </p:nvGrpSpPr>
        <p:grpSpPr>
          <a:xfrm>
            <a:off x="16469806" y="3337472"/>
            <a:ext cx="8672507" cy="6949566"/>
            <a:chOff x="16469806" y="3337472"/>
            <a:chExt cx="8672507" cy="6949566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5E67D9F-5480-A643-520F-C82A6AB6CEEA}"/>
                </a:ext>
              </a:extLst>
            </p:cNvPr>
            <p:cNvSpPr/>
            <p:nvPr/>
          </p:nvSpPr>
          <p:spPr>
            <a:xfrm>
              <a:off x="16469808" y="3337472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Requirements definition, capture and specification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2A668D2-3572-37F6-3EAA-AA83099E95D0}"/>
                </a:ext>
              </a:extLst>
            </p:cNvPr>
            <p:cNvSpPr/>
            <p:nvPr/>
          </p:nvSpPr>
          <p:spPr>
            <a:xfrm>
              <a:off x="16469807" y="5185823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Creation, collection and management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1E0F342-8A77-AF59-C752-7E76DB7BF8BD}"/>
                </a:ext>
              </a:extLst>
            </p:cNvPr>
            <p:cNvSpPr/>
            <p:nvPr/>
          </p:nvSpPr>
          <p:spPr>
            <a:xfrm>
              <a:off x="16469807" y="7034174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Quality assurance, control and feedback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34D5F64-AC7F-ED09-B65C-646F97942903}"/>
                </a:ext>
              </a:extLst>
            </p:cNvPr>
            <p:cNvSpPr/>
            <p:nvPr/>
          </p:nvSpPr>
          <p:spPr>
            <a:xfrm>
              <a:off x="16469807" y="8801138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Analytics and migration</a:t>
              </a:r>
            </a:p>
          </p:txBody>
        </p:sp>
        <p:sp>
          <p:nvSpPr>
            <p:cNvPr id="51" name="Arrow: Down 50">
              <a:extLst>
                <a:ext uri="{FF2B5EF4-FFF2-40B4-BE49-F238E27FC236}">
                  <a16:creationId xmlns:a16="http://schemas.microsoft.com/office/drawing/2014/main" id="{849CB3E8-4F1B-4B0E-37D5-04C0463A1FAC}"/>
                </a:ext>
              </a:extLst>
            </p:cNvPr>
            <p:cNvSpPr/>
            <p:nvPr/>
          </p:nvSpPr>
          <p:spPr>
            <a:xfrm>
              <a:off x="20031358" y="6666866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2" name="Arrow: Down 51">
              <a:extLst>
                <a:ext uri="{FF2B5EF4-FFF2-40B4-BE49-F238E27FC236}">
                  <a16:creationId xmlns:a16="http://schemas.microsoft.com/office/drawing/2014/main" id="{B9DFE8CA-5627-2F5C-0A93-E3EAE414ABEC}"/>
                </a:ext>
              </a:extLst>
            </p:cNvPr>
            <p:cNvSpPr/>
            <p:nvPr/>
          </p:nvSpPr>
          <p:spPr>
            <a:xfrm>
              <a:off x="16469806" y="4818540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Arrow: Down 52">
              <a:extLst>
                <a:ext uri="{FF2B5EF4-FFF2-40B4-BE49-F238E27FC236}">
                  <a16:creationId xmlns:a16="http://schemas.microsoft.com/office/drawing/2014/main" id="{E0136AC8-232C-A6AE-2252-C98ADD8B8C79}"/>
                </a:ext>
              </a:extLst>
            </p:cNvPr>
            <p:cNvSpPr/>
            <p:nvPr/>
          </p:nvSpPr>
          <p:spPr>
            <a:xfrm>
              <a:off x="23621772" y="8476094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E6EC937B-416F-FC30-D296-F4461A0B22A9}"/>
              </a:ext>
            </a:extLst>
          </p:cNvPr>
          <p:cNvSpPr/>
          <p:nvPr/>
        </p:nvSpPr>
        <p:spPr>
          <a:xfrm>
            <a:off x="25236408" y="3432904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58C2900A-F774-ED94-2943-142F0D17A90B}"/>
              </a:ext>
            </a:extLst>
          </p:cNvPr>
          <p:cNvSpPr/>
          <p:nvPr/>
        </p:nvSpPr>
        <p:spPr>
          <a:xfrm>
            <a:off x="25236408" y="5255042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F91AB2A-BCD6-65F3-A0F3-84178D45B434}"/>
              </a:ext>
            </a:extLst>
          </p:cNvPr>
          <p:cNvSpPr/>
          <p:nvPr/>
        </p:nvSpPr>
        <p:spPr>
          <a:xfrm>
            <a:off x="25236408" y="7077180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F699D20-432F-01DE-D9E9-B29DDA8EB344}"/>
              </a:ext>
            </a:extLst>
          </p:cNvPr>
          <p:cNvSpPr/>
          <p:nvPr/>
        </p:nvSpPr>
        <p:spPr>
          <a:xfrm>
            <a:off x="25236408" y="8899318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67C4399-E1BF-4BCD-FBFB-5ADF76720DA3}"/>
              </a:ext>
            </a:extLst>
          </p:cNvPr>
          <p:cNvSpPr/>
          <p:nvPr/>
        </p:nvSpPr>
        <p:spPr>
          <a:xfrm>
            <a:off x="15075812" y="2233189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29E379E-BE0F-EBF7-39B6-368BA437FCF7}"/>
              </a:ext>
            </a:extLst>
          </p:cNvPr>
          <p:cNvGrpSpPr/>
          <p:nvPr/>
        </p:nvGrpSpPr>
        <p:grpSpPr>
          <a:xfrm>
            <a:off x="16469806" y="3337472"/>
            <a:ext cx="8672507" cy="6949566"/>
            <a:chOff x="16469806" y="3337472"/>
            <a:chExt cx="8672507" cy="694956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9A1D52C-D95C-2550-514B-A7DA986C7848}"/>
                </a:ext>
              </a:extLst>
            </p:cNvPr>
            <p:cNvSpPr/>
            <p:nvPr/>
          </p:nvSpPr>
          <p:spPr>
            <a:xfrm>
              <a:off x="16469808" y="3337472"/>
              <a:ext cx="8672505" cy="14859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Data Requirement(s)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6450A2C-F011-57F0-A1B9-D8416D07B613}"/>
                </a:ext>
              </a:extLst>
            </p:cNvPr>
            <p:cNvSpPr/>
            <p:nvPr/>
          </p:nvSpPr>
          <p:spPr>
            <a:xfrm>
              <a:off x="16469807" y="5185823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Data Managemen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5674985-7FF6-48B3-51C3-F60C8F691847}"/>
                </a:ext>
              </a:extLst>
            </p:cNvPr>
            <p:cNvSpPr/>
            <p:nvPr/>
          </p:nvSpPr>
          <p:spPr>
            <a:xfrm>
              <a:off x="16469807" y="7034174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Data Quality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ACC62D0-BC34-1A88-8BC6-E88378F4C7A0}"/>
                </a:ext>
              </a:extLst>
            </p:cNvPr>
            <p:cNvSpPr/>
            <p:nvPr/>
          </p:nvSpPr>
          <p:spPr>
            <a:xfrm>
              <a:off x="16469807" y="8801138"/>
              <a:ext cx="8672505" cy="1485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800">
                  <a:latin typeface="Segoe UI" panose="020B0502040204020203" pitchFamily="34" charset="0"/>
                  <a:cs typeface="Segoe UI" panose="020B0502040204020203" pitchFamily="34" charset="0"/>
                </a:rPr>
                <a:t>Data Use and Analytics</a:t>
              </a:r>
            </a:p>
          </p:txBody>
        </p:sp>
        <p:sp>
          <p:nvSpPr>
            <p:cNvPr id="64" name="Arrow: Down 63">
              <a:extLst>
                <a:ext uri="{FF2B5EF4-FFF2-40B4-BE49-F238E27FC236}">
                  <a16:creationId xmlns:a16="http://schemas.microsoft.com/office/drawing/2014/main" id="{11C3128C-7893-7EF3-F7FF-4770F9EDD591}"/>
                </a:ext>
              </a:extLst>
            </p:cNvPr>
            <p:cNvSpPr/>
            <p:nvPr/>
          </p:nvSpPr>
          <p:spPr>
            <a:xfrm>
              <a:off x="20031358" y="6666866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5" name="Arrow: Down 64">
              <a:extLst>
                <a:ext uri="{FF2B5EF4-FFF2-40B4-BE49-F238E27FC236}">
                  <a16:creationId xmlns:a16="http://schemas.microsoft.com/office/drawing/2014/main" id="{AC7B6770-3201-BACF-ADED-BF731678EE8C}"/>
                </a:ext>
              </a:extLst>
            </p:cNvPr>
            <p:cNvSpPr/>
            <p:nvPr/>
          </p:nvSpPr>
          <p:spPr>
            <a:xfrm>
              <a:off x="16469806" y="4818540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" name="Arrow: Down 65">
              <a:extLst>
                <a:ext uri="{FF2B5EF4-FFF2-40B4-BE49-F238E27FC236}">
                  <a16:creationId xmlns:a16="http://schemas.microsoft.com/office/drawing/2014/main" id="{CA865C6C-C028-8C23-386A-9EF098764605}"/>
                </a:ext>
              </a:extLst>
            </p:cNvPr>
            <p:cNvSpPr/>
            <p:nvPr/>
          </p:nvSpPr>
          <p:spPr>
            <a:xfrm>
              <a:off x="23621772" y="8476094"/>
              <a:ext cx="946949" cy="693925"/>
            </a:xfrm>
            <a:prstGeom prst="downArrow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8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7" name="Oval 66">
            <a:extLst>
              <a:ext uri="{FF2B5EF4-FFF2-40B4-BE49-F238E27FC236}">
                <a16:creationId xmlns:a16="http://schemas.microsoft.com/office/drawing/2014/main" id="{9C0926F4-3AA4-4303-AAEC-B102AF72CBC0}"/>
              </a:ext>
            </a:extLst>
          </p:cNvPr>
          <p:cNvSpPr/>
          <p:nvPr/>
        </p:nvSpPr>
        <p:spPr>
          <a:xfrm>
            <a:off x="25236408" y="3432904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1CA1A554-7323-B128-9949-91834F68F4FB}"/>
              </a:ext>
            </a:extLst>
          </p:cNvPr>
          <p:cNvSpPr/>
          <p:nvPr/>
        </p:nvSpPr>
        <p:spPr>
          <a:xfrm>
            <a:off x="25236408" y="5255042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F8D8900A-FD0A-6AE4-052A-8D2FDD6869D5}"/>
              </a:ext>
            </a:extLst>
          </p:cNvPr>
          <p:cNvSpPr/>
          <p:nvPr/>
        </p:nvSpPr>
        <p:spPr>
          <a:xfrm>
            <a:off x="25236408" y="7077180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1888CAE-BC4D-363F-4987-3B8A96B5541F}"/>
              </a:ext>
            </a:extLst>
          </p:cNvPr>
          <p:cNvSpPr/>
          <p:nvPr/>
        </p:nvSpPr>
        <p:spPr>
          <a:xfrm>
            <a:off x="25236408" y="8899318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0977E976-33D8-1B94-FC6F-E6F0860B34C7}"/>
              </a:ext>
            </a:extLst>
          </p:cNvPr>
          <p:cNvSpPr/>
          <p:nvPr/>
        </p:nvSpPr>
        <p:spPr>
          <a:xfrm>
            <a:off x="15075812" y="2233189"/>
            <a:ext cx="1289539" cy="1289539"/>
          </a:xfrm>
          <a:prstGeom prst="ellipse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054459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8B20C44-41D4-B6A1-15D4-3229C9A5F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518303" cy="1447442"/>
          </a:xfrm>
        </p:spPr>
        <p:txBody>
          <a:bodyPr/>
          <a:lstStyle/>
          <a:p>
            <a:r>
              <a:rPr lang="en-US" dirty="0"/>
              <a:t>Designing the Solution</a:t>
            </a:r>
          </a:p>
        </p:txBody>
      </p:sp>
      <p:pic>
        <p:nvPicPr>
          <p:cNvPr id="2" name="Picture 1" descr="Timeline&#10;&#10;Description automatically generated with medium confidence">
            <a:extLst>
              <a:ext uri="{FF2B5EF4-FFF2-40B4-BE49-F238E27FC236}">
                <a16:creationId xmlns:a16="http://schemas.microsoft.com/office/drawing/2014/main" id="{4B8C58EA-308F-3B40-F3AD-6CD6F5FB8F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9515" y="2709154"/>
            <a:ext cx="22926454" cy="1055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03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63914-17FB-AD8C-ED2A-F028F9B07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9540" y="659607"/>
            <a:ext cx="18394754" cy="1447442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he Solu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3D6C666-B5C2-5663-069D-5F67FC6424C8}"/>
              </a:ext>
            </a:extLst>
          </p:cNvPr>
          <p:cNvSpPr/>
          <p:nvPr/>
        </p:nvSpPr>
        <p:spPr>
          <a:xfrm>
            <a:off x="1582372" y="4611755"/>
            <a:ext cx="11896082" cy="164989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3200"/>
              <a:t>Do we want a platform that tells our people what to do, when to do it and how to do it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7A6AD7-AA3D-4055-BBA8-58E12BE7CF7A}"/>
              </a:ext>
            </a:extLst>
          </p:cNvPr>
          <p:cNvSpPr/>
          <p:nvPr/>
        </p:nvSpPr>
        <p:spPr>
          <a:xfrm>
            <a:off x="1582372" y="7217428"/>
            <a:ext cx="11896082" cy="164989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3200" dirty="0"/>
              <a:t>Do we want a platform that provides everything we need to do our role, and all the insights we need to make a decision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620B20-721B-CE57-5FF1-7C6DC10DA2F7}"/>
              </a:ext>
            </a:extLst>
          </p:cNvPr>
          <p:cNvSpPr/>
          <p:nvPr/>
        </p:nvSpPr>
        <p:spPr>
          <a:xfrm>
            <a:off x="1582372" y="9919122"/>
            <a:ext cx="11896082" cy="1649896"/>
          </a:xfrm>
          <a:prstGeom prst="rect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3200"/>
              <a:t>Do we want a platform that gives us accurate answers to any question about our department?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DEB5426-1480-7955-B197-4E7D24D3662A}"/>
              </a:ext>
            </a:extLst>
          </p:cNvPr>
          <p:cNvSpPr/>
          <p:nvPr/>
        </p:nvSpPr>
        <p:spPr>
          <a:xfrm>
            <a:off x="862282" y="3891665"/>
            <a:ext cx="1188720" cy="1188720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0AB7701-5DC5-12AF-E14E-737594F8EFF3}"/>
              </a:ext>
            </a:extLst>
          </p:cNvPr>
          <p:cNvSpPr/>
          <p:nvPr/>
        </p:nvSpPr>
        <p:spPr>
          <a:xfrm>
            <a:off x="862282" y="6497338"/>
            <a:ext cx="1188720" cy="1188720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FD3D788-D724-0297-8A6E-5E5190F44794}"/>
              </a:ext>
            </a:extLst>
          </p:cNvPr>
          <p:cNvSpPr/>
          <p:nvPr/>
        </p:nvSpPr>
        <p:spPr>
          <a:xfrm>
            <a:off x="862282" y="9199032"/>
            <a:ext cx="1188720" cy="1188720"/>
          </a:xfrm>
          <a:prstGeom prst="ellipse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/>
              <a:t>3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D499406-216D-95D4-7C6D-CC13749DFB53}"/>
              </a:ext>
            </a:extLst>
          </p:cNvPr>
          <p:cNvGrpSpPr/>
          <p:nvPr/>
        </p:nvGrpSpPr>
        <p:grpSpPr>
          <a:xfrm>
            <a:off x="16709273" y="6600397"/>
            <a:ext cx="11896082" cy="3386831"/>
            <a:chOff x="16709273" y="6600397"/>
            <a:chExt cx="11896082" cy="338683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94C0AE3-36EE-8047-747F-DCE3532AAD03}"/>
                </a:ext>
              </a:extLst>
            </p:cNvPr>
            <p:cNvSpPr/>
            <p:nvPr/>
          </p:nvSpPr>
          <p:spPr>
            <a:xfrm>
              <a:off x="16709273" y="6863561"/>
              <a:ext cx="11896082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4000" b="1">
                  <a:solidFill>
                    <a:srgbClr val="022DB7"/>
                  </a:solidFill>
                </a:rPr>
                <a:t>Portal 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547EC1C-EE47-19F8-4D32-AD91A7176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157475" y="6600397"/>
              <a:ext cx="6105512" cy="3386831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B0EB617-331A-5238-71AD-B5FCAD20FACE}"/>
              </a:ext>
            </a:extLst>
          </p:cNvPr>
          <p:cNvGrpSpPr/>
          <p:nvPr/>
        </p:nvGrpSpPr>
        <p:grpSpPr>
          <a:xfrm>
            <a:off x="16709273" y="2757273"/>
            <a:ext cx="11896082" cy="3708964"/>
            <a:chOff x="16709273" y="2757273"/>
            <a:chExt cx="11896082" cy="370896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A796968-4EAF-DED1-D284-79B93E5A6A78}"/>
                </a:ext>
              </a:extLst>
            </p:cNvPr>
            <p:cNvSpPr/>
            <p:nvPr/>
          </p:nvSpPr>
          <p:spPr>
            <a:xfrm>
              <a:off x="16709273" y="3279912"/>
              <a:ext cx="11896082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4000" b="1">
                  <a:solidFill>
                    <a:srgbClr val="022DB7"/>
                  </a:solidFill>
                </a:rPr>
                <a:t>Knowledge Management System 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4A52432-824C-E8C4-6B02-EBDB2F3DB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176" b="58850"/>
            <a:stretch/>
          </p:blipFill>
          <p:spPr>
            <a:xfrm>
              <a:off x="17023106" y="2757273"/>
              <a:ext cx="3248654" cy="3708964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341A0AC-434D-6D42-F4FB-A20B95EBC473}"/>
              </a:ext>
            </a:extLst>
          </p:cNvPr>
          <p:cNvGrpSpPr/>
          <p:nvPr/>
        </p:nvGrpSpPr>
        <p:grpSpPr>
          <a:xfrm>
            <a:off x="16709273" y="10132051"/>
            <a:ext cx="11896082" cy="3294002"/>
            <a:chOff x="16709273" y="10132051"/>
            <a:chExt cx="11896082" cy="329400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B01442-225B-512D-861C-C408D4E8AD01}"/>
                </a:ext>
              </a:extLst>
            </p:cNvPr>
            <p:cNvSpPr/>
            <p:nvPr/>
          </p:nvSpPr>
          <p:spPr>
            <a:xfrm>
              <a:off x="16709273" y="10447209"/>
              <a:ext cx="11896082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4000" b="1">
                  <a:solidFill>
                    <a:srgbClr val="022DB7"/>
                  </a:solidFill>
                </a:rPr>
                <a:t>“</a:t>
              </a:r>
              <a:r>
                <a:rPr lang="en-US" sz="4000" b="1" err="1">
                  <a:solidFill>
                    <a:srgbClr val="022DB7"/>
                  </a:solidFill>
                </a:rPr>
                <a:t>PAula</a:t>
              </a:r>
              <a:r>
                <a:rPr lang="en-US" sz="4000" b="1">
                  <a:solidFill>
                    <a:srgbClr val="022DB7"/>
                  </a:solidFill>
                </a:rPr>
                <a:t>” </a:t>
              </a:r>
            </a:p>
            <a:p>
              <a:pPr algn="r"/>
              <a:r>
                <a:rPr lang="en-US" sz="4000" b="1">
                  <a:solidFill>
                    <a:srgbClr val="022DB7"/>
                  </a:solidFill>
                </a:rPr>
                <a:t>Virtual Assistan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77A7589-7CF5-1BD6-B37E-6641ED19B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023106" y="10132051"/>
              <a:ext cx="5578427" cy="32940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6308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63914-17FB-AD8C-ED2A-F028F9B07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9540" y="659607"/>
            <a:ext cx="18394754" cy="1447442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The Solutio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2D0D257-FEBC-8299-0C6E-4913BFF418AE}"/>
              </a:ext>
            </a:extLst>
          </p:cNvPr>
          <p:cNvGrpSpPr/>
          <p:nvPr/>
        </p:nvGrpSpPr>
        <p:grpSpPr>
          <a:xfrm>
            <a:off x="21820909" y="6600397"/>
            <a:ext cx="6784446" cy="3386831"/>
            <a:chOff x="21820909" y="6600397"/>
            <a:chExt cx="6784446" cy="338683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94C0AE3-36EE-8047-747F-DCE3532AAD03}"/>
                </a:ext>
              </a:extLst>
            </p:cNvPr>
            <p:cNvSpPr/>
            <p:nvPr/>
          </p:nvSpPr>
          <p:spPr>
            <a:xfrm>
              <a:off x="21820909" y="6863561"/>
              <a:ext cx="6784446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4000" b="1" dirty="0">
                <a:solidFill>
                  <a:srgbClr val="022DB7"/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547EC1C-EE47-19F8-4D32-AD91A7176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157475" y="6600397"/>
              <a:ext cx="6105512" cy="3386831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3E1B6DE-20EB-9D8E-FBBA-6F47EA5DD2B0}"/>
              </a:ext>
            </a:extLst>
          </p:cNvPr>
          <p:cNvGrpSpPr/>
          <p:nvPr/>
        </p:nvGrpSpPr>
        <p:grpSpPr>
          <a:xfrm>
            <a:off x="16709273" y="2757273"/>
            <a:ext cx="3781600" cy="3708964"/>
            <a:chOff x="16709273" y="2757273"/>
            <a:chExt cx="3781600" cy="370896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A796968-4EAF-DED1-D284-79B93E5A6A78}"/>
                </a:ext>
              </a:extLst>
            </p:cNvPr>
            <p:cNvSpPr/>
            <p:nvPr/>
          </p:nvSpPr>
          <p:spPr>
            <a:xfrm>
              <a:off x="16709273" y="3279912"/>
              <a:ext cx="3781600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4000" b="1" dirty="0">
                <a:solidFill>
                  <a:srgbClr val="022DB7"/>
                </a:solidFill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4A52432-824C-E8C4-6B02-EBDB2F3DB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176" b="58850"/>
            <a:stretch/>
          </p:blipFill>
          <p:spPr>
            <a:xfrm>
              <a:off x="17023106" y="2757273"/>
              <a:ext cx="3248654" cy="3708964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7BF52F6-C9AA-168D-04F3-CBD1FBB4A141}"/>
              </a:ext>
            </a:extLst>
          </p:cNvPr>
          <p:cNvGrpSpPr/>
          <p:nvPr/>
        </p:nvGrpSpPr>
        <p:grpSpPr>
          <a:xfrm>
            <a:off x="16709273" y="10132051"/>
            <a:ext cx="6105512" cy="3294002"/>
            <a:chOff x="16709273" y="10132051"/>
            <a:chExt cx="6105512" cy="329400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B01442-225B-512D-861C-C408D4E8AD01}"/>
                </a:ext>
              </a:extLst>
            </p:cNvPr>
            <p:cNvSpPr/>
            <p:nvPr/>
          </p:nvSpPr>
          <p:spPr>
            <a:xfrm>
              <a:off x="16709273" y="10447209"/>
              <a:ext cx="6105512" cy="2663687"/>
            </a:xfrm>
            <a:prstGeom prst="rect">
              <a:avLst/>
            </a:prstGeom>
            <a:noFill/>
            <a:ln w="76200">
              <a:solidFill>
                <a:srgbClr val="FFFF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en-US" sz="4000" b="1" dirty="0">
                <a:solidFill>
                  <a:srgbClr val="022DB7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77A7589-7CF5-1BD6-B37E-6641ED19B9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023106" y="10132051"/>
              <a:ext cx="5578427" cy="3294002"/>
            </a:xfrm>
            <a:prstGeom prst="rect">
              <a:avLst/>
            </a:prstGeom>
          </p:spPr>
        </p:pic>
      </p:grpSp>
      <p:sp>
        <p:nvSpPr>
          <p:cNvPr id="28" name="Arrow: Left-Right 27">
            <a:extLst>
              <a:ext uri="{FF2B5EF4-FFF2-40B4-BE49-F238E27FC236}">
                <a16:creationId xmlns:a16="http://schemas.microsoft.com/office/drawing/2014/main" id="{B2679AC3-E519-C599-BA09-A0CBFADE64E9}"/>
              </a:ext>
            </a:extLst>
          </p:cNvPr>
          <p:cNvSpPr/>
          <p:nvPr/>
        </p:nvSpPr>
        <p:spPr>
          <a:xfrm rot="2267351">
            <a:off x="5787822" y="9142513"/>
            <a:ext cx="5486400" cy="548640"/>
          </a:xfrm>
          <a:prstGeom prst="leftRightArrow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Left-Right 28">
            <a:extLst>
              <a:ext uri="{FF2B5EF4-FFF2-40B4-BE49-F238E27FC236}">
                <a16:creationId xmlns:a16="http://schemas.microsoft.com/office/drawing/2014/main" id="{1AED6DD4-93C3-56C8-B000-843C28E3FF92}"/>
              </a:ext>
            </a:extLst>
          </p:cNvPr>
          <p:cNvSpPr/>
          <p:nvPr/>
        </p:nvSpPr>
        <p:spPr>
          <a:xfrm rot="8546647">
            <a:off x="20589155" y="9142513"/>
            <a:ext cx="5486400" cy="548640"/>
          </a:xfrm>
          <a:prstGeom prst="leftRightArrow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row: Left-Right 29">
            <a:extLst>
              <a:ext uri="{FF2B5EF4-FFF2-40B4-BE49-F238E27FC236}">
                <a16:creationId xmlns:a16="http://schemas.microsoft.com/office/drawing/2014/main" id="{E8E3B37A-9437-ABA0-1214-DFC0E7EFAFA1}"/>
              </a:ext>
            </a:extLst>
          </p:cNvPr>
          <p:cNvSpPr/>
          <p:nvPr/>
        </p:nvSpPr>
        <p:spPr>
          <a:xfrm>
            <a:off x="10656917" y="4337435"/>
            <a:ext cx="8591550" cy="548640"/>
          </a:xfrm>
          <a:prstGeom prst="leftRightArrow">
            <a:avLst/>
          </a:prstGeom>
          <a:solidFill>
            <a:srgbClr val="022D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7CE183D-A5DB-9E70-995F-09AB188704E3}"/>
              </a:ext>
            </a:extLst>
          </p:cNvPr>
          <p:cNvSpPr txBox="1"/>
          <p:nvPr/>
        </p:nvSpPr>
        <p:spPr>
          <a:xfrm>
            <a:off x="3337584" y="8515281"/>
            <a:ext cx="20361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Process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0AA007A-34DB-165A-EBCB-CAB3D1AC73EF}"/>
              </a:ext>
            </a:extLst>
          </p:cNvPr>
          <p:cNvSpPr txBox="1"/>
          <p:nvPr/>
        </p:nvSpPr>
        <p:spPr>
          <a:xfrm>
            <a:off x="7114826" y="3001025"/>
            <a:ext cx="22060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Guidelin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BB54EC3-3504-DE71-B3B6-2F1D4F2DF180}"/>
              </a:ext>
            </a:extLst>
          </p:cNvPr>
          <p:cNvSpPr txBox="1"/>
          <p:nvPr/>
        </p:nvSpPr>
        <p:spPr>
          <a:xfrm>
            <a:off x="7570690" y="5787271"/>
            <a:ext cx="22659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Workflow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2FA71A-7390-5FF5-E166-0A1FCAA5F23E}"/>
              </a:ext>
            </a:extLst>
          </p:cNvPr>
          <p:cNvSpPr txBox="1"/>
          <p:nvPr/>
        </p:nvSpPr>
        <p:spPr>
          <a:xfrm>
            <a:off x="103090" y="7438063"/>
            <a:ext cx="26925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Stage Activiti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0281F00-E26E-4E8C-6D59-A2ED91F75EA5}"/>
              </a:ext>
            </a:extLst>
          </p:cNvPr>
          <p:cNvSpPr txBox="1"/>
          <p:nvPr/>
        </p:nvSpPr>
        <p:spPr>
          <a:xfrm>
            <a:off x="18025239" y="3680248"/>
            <a:ext cx="34735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Project Director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39090C8-83A8-0C2E-B93E-0FB484B4F726}"/>
              </a:ext>
            </a:extLst>
          </p:cNvPr>
          <p:cNvSpPr txBox="1"/>
          <p:nvPr/>
        </p:nvSpPr>
        <p:spPr>
          <a:xfrm>
            <a:off x="19380654" y="6411872"/>
            <a:ext cx="16882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Repor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56AB714-D3AF-AC8E-4A32-C767E4010E61}"/>
              </a:ext>
            </a:extLst>
          </p:cNvPr>
          <p:cNvSpPr txBox="1"/>
          <p:nvPr/>
        </p:nvSpPr>
        <p:spPr>
          <a:xfrm>
            <a:off x="25602429" y="7708147"/>
            <a:ext cx="31554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Deliverables Tracke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7FB342A-18C4-5470-3C3C-42BB46B72D55}"/>
              </a:ext>
            </a:extLst>
          </p:cNvPr>
          <p:cNvSpPr txBox="1"/>
          <p:nvPr/>
        </p:nvSpPr>
        <p:spPr>
          <a:xfrm>
            <a:off x="21051675" y="7641060"/>
            <a:ext cx="26005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sts &amp; Schedul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E90E32-5790-528E-2AF9-A279A3DC5975}"/>
              </a:ext>
            </a:extLst>
          </p:cNvPr>
          <p:cNvSpPr txBox="1"/>
          <p:nvPr/>
        </p:nvSpPr>
        <p:spPr>
          <a:xfrm>
            <a:off x="12097558" y="12873632"/>
            <a:ext cx="652095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/>
              <a:t>“</a:t>
            </a:r>
            <a:r>
              <a:rPr lang="en-US" sz="3200" b="1" i="1" dirty="0"/>
              <a:t>How do I perform an estimate?”</a:t>
            </a:r>
          </a:p>
          <a:p>
            <a:pPr algn="ctr"/>
            <a:r>
              <a:rPr lang="en-US" sz="3200" b="1" i="1" dirty="0"/>
              <a:t>“What takes place in stage 3?”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687122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52614E-6 7.70806E-7 L -0.46262 0.00409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131" y="20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6275E-6 -2.78944E-6 L -0.00148 -0.21834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7" y="-10922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7712E-6 -3.13645E-6 L -0.13567 -0.0521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86" y="-26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3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3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3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3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3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3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4A36F-A654-4A3D-9D98-06B8AE028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1000" dirty="0">
                <a:latin typeface="+mj-lt"/>
              </a:rPr>
              <a:t>04. Measuring Maturity and 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15762495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7214993" cy="1447442"/>
          </a:xfrm>
        </p:spPr>
        <p:txBody>
          <a:bodyPr/>
          <a:lstStyle/>
          <a:p>
            <a:r>
              <a:rPr lang="en-US"/>
              <a:t>Maturity Roadmap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79A9B2E-862C-4D97-8967-0A02DF87862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2019945" y="2063003"/>
            <a:ext cx="4056746" cy="10368005"/>
          </a:xfrm>
          <a:prstGeom prst="rect">
            <a:avLst/>
          </a:prstGeom>
          <a:solidFill>
            <a:schemeClr val="accent1">
              <a:lumMod val="50000"/>
              <a:alpha val="62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AA1813C-668E-47E8-A101-B11EF37DFC2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024415" y="2062885"/>
            <a:ext cx="3948790" cy="10368242"/>
          </a:xfrm>
          <a:prstGeom prst="rect">
            <a:avLst/>
          </a:prstGeom>
          <a:solidFill>
            <a:schemeClr val="accent1">
              <a:lumMod val="75000"/>
              <a:alpha val="6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7791F3-0D3A-48F7-AFFE-9648C302EEF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090797" y="2062885"/>
            <a:ext cx="3882334" cy="10368123"/>
          </a:xfrm>
          <a:prstGeom prst="rect">
            <a:avLst/>
          </a:prstGeom>
          <a:solidFill>
            <a:schemeClr val="accent1">
              <a:lumMod val="60000"/>
              <a:lumOff val="40000"/>
              <a:alpha val="6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95224DA-6E48-4E79-8548-C5BBDD4EA3A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189244" y="2063003"/>
            <a:ext cx="3857055" cy="10368123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2584957-1265-4C41-90E0-FBCDC861E0C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62668" y="2063000"/>
            <a:ext cx="5489087" cy="10368123"/>
          </a:xfrm>
          <a:prstGeom prst="rect">
            <a:avLst/>
          </a:prstGeom>
          <a:solidFill>
            <a:schemeClr val="accent1">
              <a:lumMod val="20000"/>
              <a:lumOff val="80000"/>
              <a:alpha val="18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0402E7A-E744-4413-B205-83F6813F472D}"/>
              </a:ext>
            </a:extLst>
          </p:cNvPr>
          <p:cNvSpPr txBox="1"/>
          <p:nvPr/>
        </p:nvSpPr>
        <p:spPr>
          <a:xfrm>
            <a:off x="21385900" y="2168052"/>
            <a:ext cx="5079531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48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dict &amp; Ac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1D042EA-72AD-492A-8A62-E71C8DB73FEE}"/>
              </a:ext>
            </a:extLst>
          </p:cNvPr>
          <p:cNvSpPr txBox="1"/>
          <p:nvPr/>
        </p:nvSpPr>
        <p:spPr>
          <a:xfrm>
            <a:off x="7526555" y="5257344"/>
            <a:ext cx="380577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800" i="1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happened?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9134F83-6F66-4BB3-B582-F9F959486E42}"/>
              </a:ext>
            </a:extLst>
          </p:cNvPr>
          <p:cNvSpPr txBox="1"/>
          <p:nvPr/>
        </p:nvSpPr>
        <p:spPr>
          <a:xfrm>
            <a:off x="14271583" y="4668506"/>
            <a:ext cx="3425922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i="1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y did it happen?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9EF3567-6E0A-4D10-A949-AE94AEE8624F}"/>
              </a:ext>
            </a:extLst>
          </p:cNvPr>
          <p:cNvSpPr txBox="1"/>
          <p:nvPr/>
        </p:nvSpPr>
        <p:spPr>
          <a:xfrm>
            <a:off x="18326244" y="4246274"/>
            <a:ext cx="310783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hat will happen?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FD1EA92-5CAD-4521-8DA3-6826ED51225F}"/>
              </a:ext>
            </a:extLst>
          </p:cNvPr>
          <p:cNvSpPr txBox="1"/>
          <p:nvPr/>
        </p:nvSpPr>
        <p:spPr>
          <a:xfrm>
            <a:off x="21860109" y="3824084"/>
            <a:ext cx="380577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i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ow can we make it happen?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B30A3C3-4747-49B4-9E94-7E356056EEAC}"/>
              </a:ext>
            </a:extLst>
          </p:cNvPr>
          <p:cNvSpPr txBox="1"/>
          <p:nvPr/>
        </p:nvSpPr>
        <p:spPr>
          <a:xfrm>
            <a:off x="4739720" y="10395061"/>
            <a:ext cx="2159978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rgbClr val="635A5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per-based Data, Non-Standard Process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AF703B4-E544-44F6-9624-A0749ADEB456}"/>
              </a:ext>
            </a:extLst>
          </p:cNvPr>
          <p:cNvSpPr txBox="1"/>
          <p:nvPr/>
        </p:nvSpPr>
        <p:spPr>
          <a:xfrm>
            <a:off x="8163409" y="7331221"/>
            <a:ext cx="2036263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rgbClr val="635A5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nnected Data, Paperless Siloed Proces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B222DB6-0307-4A61-B99E-92C78BB2170C}"/>
              </a:ext>
            </a:extLst>
          </p:cNvPr>
          <p:cNvSpPr txBox="1"/>
          <p:nvPr/>
        </p:nvSpPr>
        <p:spPr>
          <a:xfrm>
            <a:off x="10692038" y="5832882"/>
            <a:ext cx="2635606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rgbClr val="635A5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lectronic Data, Standard, Repeatable Workflows &amp; Report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1BF52CE-BF3B-47FA-8703-D72F77FDB017}"/>
              </a:ext>
            </a:extLst>
          </p:cNvPr>
          <p:cNvSpPr txBox="1"/>
          <p:nvPr/>
        </p:nvSpPr>
        <p:spPr>
          <a:xfrm>
            <a:off x="14236151" y="5303192"/>
            <a:ext cx="328605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rgbClr val="635A5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Electronic Data, Smart Workflow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824DCA3-E958-46DC-8809-D4157AD5E838}"/>
              </a:ext>
            </a:extLst>
          </p:cNvPr>
          <p:cNvSpPr txBox="1"/>
          <p:nvPr/>
        </p:nvSpPr>
        <p:spPr>
          <a:xfrm>
            <a:off x="18030656" y="4909856"/>
            <a:ext cx="3286059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&amp; Automated Workflows, Predictive Modeling, AI/Smart Data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6A2E3D8-0F51-44CB-822F-1A1D7BBFB649}"/>
              </a:ext>
            </a:extLst>
          </p:cNvPr>
          <p:cNvSpPr txBox="1"/>
          <p:nvPr/>
        </p:nvSpPr>
        <p:spPr>
          <a:xfrm>
            <a:off x="7628322" y="4775887"/>
            <a:ext cx="374647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800" b="1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criptive Analytic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F465537-9089-4B8A-9E8E-15B5C9D595E6}"/>
              </a:ext>
            </a:extLst>
          </p:cNvPr>
          <p:cNvSpPr txBox="1"/>
          <p:nvPr/>
        </p:nvSpPr>
        <p:spPr>
          <a:xfrm>
            <a:off x="13851263" y="4206191"/>
            <a:ext cx="380577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b="1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agnostic Analytic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785843C-4817-4E7F-94AD-51E3445CC283}"/>
              </a:ext>
            </a:extLst>
          </p:cNvPr>
          <p:cNvSpPr txBox="1"/>
          <p:nvPr/>
        </p:nvSpPr>
        <p:spPr>
          <a:xfrm>
            <a:off x="18104138" y="3791634"/>
            <a:ext cx="3552052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dictive Analytic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A523135-476A-44CC-B34E-42024CFC8CD0}"/>
              </a:ext>
            </a:extLst>
          </p:cNvPr>
          <p:cNvSpPr txBox="1"/>
          <p:nvPr/>
        </p:nvSpPr>
        <p:spPr>
          <a:xfrm>
            <a:off x="21863921" y="3445018"/>
            <a:ext cx="380577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scriptive Analytic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CFF8A51-75AA-4E30-B995-86627B2FCA17}"/>
              </a:ext>
            </a:extLst>
          </p:cNvPr>
          <p:cNvSpPr txBox="1"/>
          <p:nvPr/>
        </p:nvSpPr>
        <p:spPr>
          <a:xfrm>
            <a:off x="6146612" y="8466734"/>
            <a:ext cx="1547567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>
                <a:solidFill>
                  <a:srgbClr val="635A5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alog Records Raw Data</a:t>
            </a:r>
          </a:p>
        </p:txBody>
      </p:sp>
      <p:pic>
        <p:nvPicPr>
          <p:cNvPr id="87" name="Graphic 86" descr="Head with Gears">
            <a:extLst>
              <a:ext uri="{FF2B5EF4-FFF2-40B4-BE49-F238E27FC236}">
                <a16:creationId xmlns:a16="http://schemas.microsoft.com/office/drawing/2014/main" id="{8F410605-45DF-4C21-8F32-819D696121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306941" y="5858568"/>
            <a:ext cx="1081418" cy="955528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DF1E07DC-7192-44BE-ACC9-40CFD417E864}"/>
              </a:ext>
            </a:extLst>
          </p:cNvPr>
          <p:cNvSpPr txBox="1"/>
          <p:nvPr/>
        </p:nvSpPr>
        <p:spPr>
          <a:xfrm>
            <a:off x="8067550" y="8908539"/>
            <a:ext cx="2056195" cy="1089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cel formatted sheets, manually updated and controlled</a:t>
            </a:r>
            <a:endParaRPr lang="en-US" sz="1600" kern="0">
              <a:solidFill>
                <a:srgbClr val="9A8B7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AEE71A6-52E1-43D4-A5B1-0F484D36C6CE}"/>
              </a:ext>
            </a:extLst>
          </p:cNvPr>
          <p:cNvSpPr txBox="1"/>
          <p:nvPr/>
        </p:nvSpPr>
        <p:spPr>
          <a:xfrm>
            <a:off x="10219031" y="7709351"/>
            <a:ext cx="3805777" cy="2541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  <a:defRPr/>
            </a:pPr>
            <a:r>
              <a:rPr lang="en-GB" b="1" kern="0" dirty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 Tools, Systems and Processes with Improved Data Integrity &amp; Quality</a:t>
            </a:r>
          </a:p>
          <a:p>
            <a:pPr marL="137160" lvl="1"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  <a:defRPr/>
            </a:pPr>
            <a:endParaRPr lang="en-US" kern="0" dirty="0">
              <a:solidFill>
                <a:srgbClr val="F0F0F0">
                  <a:lumMod val="2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05740" lvl="1" indent="-68580"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 &amp; Workflow Dashboards</a:t>
            </a:r>
          </a:p>
          <a:p>
            <a:pPr marL="205740" lvl="1" indent="-68580"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ed reporting, cost and schedule </a:t>
            </a:r>
          </a:p>
          <a:p>
            <a:pPr marL="205740" lvl="1" indent="-68580" defTabSz="685800">
              <a:lnSpc>
                <a:spcPct val="90000"/>
              </a:lnSpc>
              <a:spcBef>
                <a:spcPts val="150"/>
              </a:spcBef>
              <a:spcAft>
                <a:spcPts val="150"/>
              </a:spcAft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ecasting using real-time dat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9E049B5-3ABC-4514-80D6-15F70B0B72F8}"/>
              </a:ext>
            </a:extLst>
          </p:cNvPr>
          <p:cNvSpPr txBox="1"/>
          <p:nvPr/>
        </p:nvSpPr>
        <p:spPr>
          <a:xfrm>
            <a:off x="14090797" y="7341032"/>
            <a:ext cx="3974069" cy="1192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-driven decisions making</a:t>
            </a:r>
          </a:p>
          <a:p>
            <a:pPr marL="274320" lvl="1" indent="-128588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 input from the field</a:t>
            </a:r>
          </a:p>
          <a:p>
            <a:pPr marL="274320" lvl="1" indent="-128588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KPIs</a:t>
            </a:r>
          </a:p>
          <a:p>
            <a:pPr marL="274320" lvl="1" indent="-128588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eline &amp; Benchmarking Analysi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411D0DB-E807-45FA-A04E-66B1696279D4}"/>
              </a:ext>
            </a:extLst>
          </p:cNvPr>
          <p:cNvSpPr txBox="1"/>
          <p:nvPr/>
        </p:nvSpPr>
        <p:spPr>
          <a:xfrm>
            <a:off x="6146612" y="10048280"/>
            <a:ext cx="1693873" cy="341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cel ‘dumps’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94F2DEF-17B1-4BD3-8F37-AF7B12018D3A}"/>
              </a:ext>
            </a:extLst>
          </p:cNvPr>
          <p:cNvSpPr txBox="1"/>
          <p:nvPr/>
        </p:nvSpPr>
        <p:spPr>
          <a:xfrm>
            <a:off x="4973833" y="11307277"/>
            <a:ext cx="2043690" cy="1190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ing process by Email</a:t>
            </a:r>
          </a:p>
          <a:p>
            <a:pPr marL="128588" indent="-128588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0F0F0">
                    <a:lumMod val="2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perwork </a:t>
            </a:r>
          </a:p>
          <a:p>
            <a:pPr marL="128588" indent="-128588"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sz="1600" b="1" kern="0">
              <a:solidFill>
                <a:srgbClr val="9A8B7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F7A6187-A899-4E99-9653-16D4C0541AD2}"/>
              </a:ext>
            </a:extLst>
          </p:cNvPr>
          <p:cNvSpPr txBox="1"/>
          <p:nvPr/>
        </p:nvSpPr>
        <p:spPr>
          <a:xfrm>
            <a:off x="18122697" y="6842807"/>
            <a:ext cx="3525062" cy="2189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defRPr/>
            </a:pPr>
            <a:r>
              <a:rPr lang="en-US" b="1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vanced analytics and learning:</a:t>
            </a:r>
          </a:p>
          <a:p>
            <a:pPr marL="274320" lvl="1" indent="-128588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ep learning with large language models</a:t>
            </a:r>
          </a:p>
          <a:p>
            <a:pPr marL="274320" lvl="1" indent="-128588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active assessment of conditions, trends and ‘push’ advisory for decision making</a:t>
            </a:r>
          </a:p>
          <a:p>
            <a:pPr marL="145732" lvl="1" defTabSz="6858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ker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ABC5796-B6CB-494E-A208-74C56927E413}"/>
              </a:ext>
            </a:extLst>
          </p:cNvPr>
          <p:cNvSpPr txBox="1"/>
          <p:nvPr/>
        </p:nvSpPr>
        <p:spPr>
          <a:xfrm>
            <a:off x="22042982" y="6423901"/>
            <a:ext cx="3907445" cy="2359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1605" indent="-121605" defTabSz="648561" eaLnBrk="0" fontAlgn="base" hangingPunct="0">
              <a:spcBef>
                <a:spcPts val="213"/>
              </a:spcBef>
              <a:buClr>
                <a:srgbClr val="7030A0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ile Resiliency function to respond to all stakeholder needs, e.g. customer, suppliers, finance, risk, design, construction, asset management. </a:t>
            </a:r>
          </a:p>
          <a:p>
            <a:pPr marL="121605" indent="-121605" defTabSz="648561" eaLnBrk="0" fontAlgn="base" hangingPunct="0">
              <a:spcBef>
                <a:spcPts val="213"/>
              </a:spcBef>
              <a:buClr>
                <a:srgbClr val="7030A0"/>
              </a:buClr>
              <a:buFont typeface="Arial" panose="020B0604020202020204" pitchFamily="34" charset="0"/>
              <a:buChar char="•"/>
            </a:pPr>
            <a:r>
              <a:rPr lang="en-GB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pond to real world and dynamic conditions. </a:t>
            </a:r>
          </a:p>
          <a:p>
            <a:pPr marL="121605" indent="-121605" defTabSz="648561" eaLnBrk="0" fontAlgn="base" hangingPunct="0">
              <a:spcBef>
                <a:spcPts val="213"/>
              </a:spcBef>
              <a:buClr>
                <a:srgbClr val="7030A0"/>
              </a:buClr>
              <a:buFont typeface="Arial" panose="020B0604020202020204" pitchFamily="34" charset="0"/>
              <a:buChar char="•"/>
            </a:pPr>
            <a:endParaRPr lang="en-GB" ker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4A391262-1AD6-4A95-8E4A-9AAA4427EFAE}"/>
              </a:ext>
            </a:extLst>
          </p:cNvPr>
          <p:cNvGrpSpPr/>
          <p:nvPr/>
        </p:nvGrpSpPr>
        <p:grpSpPr>
          <a:xfrm rot="10800000">
            <a:off x="8592883" y="8191050"/>
            <a:ext cx="851648" cy="674444"/>
            <a:chOff x="6127208" y="1886984"/>
            <a:chExt cx="296868" cy="243081"/>
          </a:xfrm>
          <a:solidFill>
            <a:schemeClr val="bg1">
              <a:lumMod val="50000"/>
            </a:schemeClr>
          </a:solidFill>
        </p:grpSpPr>
        <p:sp>
          <p:nvSpPr>
            <p:cNvPr id="96" name="Rectangle 61">
              <a:extLst>
                <a:ext uri="{FF2B5EF4-FFF2-40B4-BE49-F238E27FC236}">
                  <a16:creationId xmlns:a16="http://schemas.microsoft.com/office/drawing/2014/main" id="{CE0D0E76-0E3F-45C1-B172-6CAF1E240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6751" y="1886984"/>
              <a:ext cx="187325" cy="1301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7" name="Freeform 62">
              <a:extLst>
                <a:ext uri="{FF2B5EF4-FFF2-40B4-BE49-F238E27FC236}">
                  <a16:creationId xmlns:a16="http://schemas.microsoft.com/office/drawing/2014/main" id="{50D03BAC-06EF-4FB8-8A32-4EACAE5D4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781" y="1942733"/>
              <a:ext cx="184150" cy="130175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0"/>
                </a:cxn>
                <a:cxn ang="0">
                  <a:pos x="0" y="82"/>
                </a:cxn>
                <a:cxn ang="0">
                  <a:pos x="116" y="82"/>
                </a:cxn>
                <a:cxn ang="0">
                  <a:pos x="116" y="58"/>
                </a:cxn>
                <a:cxn ang="0">
                  <a:pos x="23" y="58"/>
                </a:cxn>
                <a:cxn ang="0">
                  <a:pos x="23" y="0"/>
                </a:cxn>
              </a:cxnLst>
              <a:rect l="0" t="0" r="r" b="b"/>
              <a:pathLst>
                <a:path w="116" h="82">
                  <a:moveTo>
                    <a:pt x="23" y="0"/>
                  </a:moveTo>
                  <a:lnTo>
                    <a:pt x="0" y="0"/>
                  </a:lnTo>
                  <a:lnTo>
                    <a:pt x="0" y="82"/>
                  </a:lnTo>
                  <a:lnTo>
                    <a:pt x="116" y="82"/>
                  </a:lnTo>
                  <a:lnTo>
                    <a:pt x="116" y="58"/>
                  </a:lnTo>
                  <a:lnTo>
                    <a:pt x="23" y="58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Freeform 63">
              <a:extLst>
                <a:ext uri="{FF2B5EF4-FFF2-40B4-BE49-F238E27FC236}">
                  <a16:creationId xmlns:a16="http://schemas.microsoft.com/office/drawing/2014/main" id="{2EC45027-888A-46E0-9E85-48DFD6B91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208" y="1999890"/>
              <a:ext cx="184150" cy="13017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82"/>
                </a:cxn>
                <a:cxn ang="0">
                  <a:pos x="116" y="82"/>
                </a:cxn>
                <a:cxn ang="0">
                  <a:pos x="116" y="58"/>
                </a:cxn>
                <a:cxn ang="0">
                  <a:pos x="22" y="58"/>
                </a:cxn>
                <a:cxn ang="0">
                  <a:pos x="22" y="0"/>
                </a:cxn>
              </a:cxnLst>
              <a:rect l="0" t="0" r="r" b="b"/>
              <a:pathLst>
                <a:path w="116" h="82">
                  <a:moveTo>
                    <a:pt x="22" y="0"/>
                  </a:moveTo>
                  <a:lnTo>
                    <a:pt x="0" y="0"/>
                  </a:lnTo>
                  <a:lnTo>
                    <a:pt x="0" y="82"/>
                  </a:lnTo>
                  <a:lnTo>
                    <a:pt x="116" y="82"/>
                  </a:lnTo>
                  <a:lnTo>
                    <a:pt x="116" y="58"/>
                  </a:lnTo>
                  <a:lnTo>
                    <a:pt x="22" y="58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99" name="Freeform 36">
            <a:extLst>
              <a:ext uri="{FF2B5EF4-FFF2-40B4-BE49-F238E27FC236}">
                <a16:creationId xmlns:a16="http://schemas.microsoft.com/office/drawing/2014/main" id="{AD17A326-B4C8-4C85-8377-795B2A3F4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42987" y="5077582"/>
            <a:ext cx="1081418" cy="936416"/>
          </a:xfrm>
          <a:custGeom>
            <a:avLst/>
            <a:gdLst>
              <a:gd name="T0" fmla="*/ 107500 w 480"/>
              <a:gd name="T1" fmla="*/ 146895 h 436"/>
              <a:gd name="T2" fmla="*/ 107500 w 480"/>
              <a:gd name="T3" fmla="*/ 146895 h 436"/>
              <a:gd name="T4" fmla="*/ 83661 w 480"/>
              <a:gd name="T5" fmla="*/ 171079 h 436"/>
              <a:gd name="T6" fmla="*/ 107500 w 480"/>
              <a:gd name="T7" fmla="*/ 194815 h 436"/>
              <a:gd name="T8" fmla="*/ 131339 w 480"/>
              <a:gd name="T9" fmla="*/ 171079 h 436"/>
              <a:gd name="T10" fmla="*/ 107500 w 480"/>
              <a:gd name="T11" fmla="*/ 146895 h 436"/>
              <a:gd name="T12" fmla="*/ 59822 w 480"/>
              <a:gd name="T13" fmla="*/ 123159 h 436"/>
              <a:gd name="T14" fmla="*/ 59822 w 480"/>
              <a:gd name="T15" fmla="*/ 123159 h 436"/>
              <a:gd name="T16" fmla="*/ 75565 w 480"/>
              <a:gd name="T17" fmla="*/ 139282 h 436"/>
              <a:gd name="T18" fmla="*/ 139435 w 480"/>
              <a:gd name="T19" fmla="*/ 139282 h 436"/>
              <a:gd name="T20" fmla="*/ 155178 w 480"/>
              <a:gd name="T21" fmla="*/ 123159 h 436"/>
              <a:gd name="T22" fmla="*/ 59822 w 480"/>
              <a:gd name="T23" fmla="*/ 123159 h 436"/>
              <a:gd name="T24" fmla="*/ 27887 w 480"/>
              <a:gd name="T25" fmla="*/ 91362 h 436"/>
              <a:gd name="T26" fmla="*/ 27887 w 480"/>
              <a:gd name="T27" fmla="*/ 91362 h 436"/>
              <a:gd name="T28" fmla="*/ 44080 w 480"/>
              <a:gd name="T29" fmla="*/ 107484 h 436"/>
              <a:gd name="T30" fmla="*/ 171371 w 480"/>
              <a:gd name="T31" fmla="*/ 107484 h 436"/>
              <a:gd name="T32" fmla="*/ 187563 w 480"/>
              <a:gd name="T33" fmla="*/ 91362 h 436"/>
              <a:gd name="T34" fmla="*/ 27887 w 480"/>
              <a:gd name="T35" fmla="*/ 91362 h 436"/>
              <a:gd name="T36" fmla="*/ 0 w 480"/>
              <a:gd name="T37" fmla="*/ 60012 h 436"/>
              <a:gd name="T38" fmla="*/ 0 w 480"/>
              <a:gd name="T39" fmla="*/ 60012 h 436"/>
              <a:gd name="T40" fmla="*/ 11695 w 480"/>
              <a:gd name="T41" fmla="*/ 75687 h 436"/>
              <a:gd name="T42" fmla="*/ 199258 w 480"/>
              <a:gd name="T43" fmla="*/ 75687 h 436"/>
              <a:gd name="T44" fmla="*/ 215450 w 480"/>
              <a:gd name="T45" fmla="*/ 60012 h 436"/>
              <a:gd name="T46" fmla="*/ 0 w 480"/>
              <a:gd name="T47" fmla="*/ 60012 h 4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80" h="436">
                <a:moveTo>
                  <a:pt x="239" y="328"/>
                </a:moveTo>
                <a:lnTo>
                  <a:pt x="239" y="328"/>
                </a:lnTo>
                <a:cubicBezTo>
                  <a:pt x="213" y="328"/>
                  <a:pt x="186" y="355"/>
                  <a:pt x="186" y="382"/>
                </a:cubicBezTo>
                <a:cubicBezTo>
                  <a:pt x="186" y="409"/>
                  <a:pt x="213" y="435"/>
                  <a:pt x="239" y="435"/>
                </a:cubicBezTo>
                <a:cubicBezTo>
                  <a:pt x="266" y="435"/>
                  <a:pt x="292" y="409"/>
                  <a:pt x="292" y="382"/>
                </a:cubicBezTo>
                <a:cubicBezTo>
                  <a:pt x="292" y="355"/>
                  <a:pt x="266" y="328"/>
                  <a:pt x="239" y="328"/>
                </a:cubicBezTo>
                <a:close/>
                <a:moveTo>
                  <a:pt x="133" y="275"/>
                </a:moveTo>
                <a:lnTo>
                  <a:pt x="133" y="275"/>
                </a:lnTo>
                <a:cubicBezTo>
                  <a:pt x="168" y="311"/>
                  <a:pt x="168" y="311"/>
                  <a:pt x="168" y="311"/>
                </a:cubicBezTo>
                <a:cubicBezTo>
                  <a:pt x="204" y="275"/>
                  <a:pt x="266" y="275"/>
                  <a:pt x="310" y="311"/>
                </a:cubicBezTo>
                <a:cubicBezTo>
                  <a:pt x="345" y="275"/>
                  <a:pt x="345" y="275"/>
                  <a:pt x="345" y="275"/>
                </a:cubicBezTo>
                <a:cubicBezTo>
                  <a:pt x="283" y="222"/>
                  <a:pt x="195" y="222"/>
                  <a:pt x="133" y="275"/>
                </a:cubicBezTo>
                <a:close/>
                <a:moveTo>
                  <a:pt x="62" y="204"/>
                </a:moveTo>
                <a:lnTo>
                  <a:pt x="62" y="204"/>
                </a:lnTo>
                <a:cubicBezTo>
                  <a:pt x="98" y="240"/>
                  <a:pt x="98" y="240"/>
                  <a:pt x="98" y="240"/>
                </a:cubicBezTo>
                <a:cubicBezTo>
                  <a:pt x="177" y="169"/>
                  <a:pt x="301" y="169"/>
                  <a:pt x="381" y="240"/>
                </a:cubicBezTo>
                <a:cubicBezTo>
                  <a:pt x="417" y="204"/>
                  <a:pt x="417" y="204"/>
                  <a:pt x="417" y="204"/>
                </a:cubicBezTo>
                <a:cubicBezTo>
                  <a:pt x="319" y="107"/>
                  <a:pt x="160" y="107"/>
                  <a:pt x="62" y="204"/>
                </a:cubicBezTo>
                <a:close/>
                <a:moveTo>
                  <a:pt x="0" y="134"/>
                </a:moveTo>
                <a:lnTo>
                  <a:pt x="0" y="134"/>
                </a:lnTo>
                <a:cubicBezTo>
                  <a:pt x="26" y="169"/>
                  <a:pt x="26" y="169"/>
                  <a:pt x="26" y="169"/>
                </a:cubicBezTo>
                <a:cubicBezTo>
                  <a:pt x="142" y="54"/>
                  <a:pt x="328" y="54"/>
                  <a:pt x="443" y="169"/>
                </a:cubicBezTo>
                <a:cubicBezTo>
                  <a:pt x="479" y="134"/>
                  <a:pt x="479" y="134"/>
                  <a:pt x="479" y="134"/>
                </a:cubicBezTo>
                <a:cubicBezTo>
                  <a:pt x="345" y="0"/>
                  <a:pt x="133" y="0"/>
                  <a:pt x="0" y="1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25718" tIns="12859" rIns="25718" bIns="12859" anchor="ctr"/>
          <a:lstStyle/>
          <a:p>
            <a:pPr defTabSz="685800"/>
            <a:endParaRPr lang="en-US" sz="4400">
              <a:solidFill>
                <a:srgbClr val="70707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0" name="Freeform 131">
            <a:extLst>
              <a:ext uri="{FF2B5EF4-FFF2-40B4-BE49-F238E27FC236}">
                <a16:creationId xmlns:a16="http://schemas.microsoft.com/office/drawing/2014/main" id="{B29BA6DA-3EB4-4C89-ACE4-BAC9366A0D81}"/>
              </a:ext>
            </a:extLst>
          </p:cNvPr>
          <p:cNvSpPr>
            <a:spLocks/>
          </p:cNvSpPr>
          <p:nvPr/>
        </p:nvSpPr>
        <p:spPr bwMode="auto">
          <a:xfrm>
            <a:off x="11674074" y="6804232"/>
            <a:ext cx="702336" cy="712981"/>
          </a:xfrm>
          <a:custGeom>
            <a:avLst/>
            <a:gdLst>
              <a:gd name="T0" fmla="*/ 209550 w 61"/>
              <a:gd name="T1" fmla="*/ 168121 h 62"/>
              <a:gd name="T2" fmla="*/ 168327 w 61"/>
              <a:gd name="T3" fmla="*/ 212725 h 62"/>
              <a:gd name="T4" fmla="*/ 123669 w 61"/>
              <a:gd name="T5" fmla="*/ 168121 h 62"/>
              <a:gd name="T6" fmla="*/ 123669 w 61"/>
              <a:gd name="T7" fmla="*/ 164690 h 62"/>
              <a:gd name="T8" fmla="*/ 72140 w 61"/>
              <a:gd name="T9" fmla="*/ 140673 h 62"/>
              <a:gd name="T10" fmla="*/ 44658 w 61"/>
              <a:gd name="T11" fmla="*/ 150966 h 62"/>
              <a:gd name="T12" fmla="*/ 0 w 61"/>
              <a:gd name="T13" fmla="*/ 106363 h 62"/>
              <a:gd name="T14" fmla="*/ 44658 w 61"/>
              <a:gd name="T15" fmla="*/ 61759 h 62"/>
              <a:gd name="T16" fmla="*/ 72140 w 61"/>
              <a:gd name="T17" fmla="*/ 75483 h 62"/>
              <a:gd name="T18" fmla="*/ 123669 w 61"/>
              <a:gd name="T19" fmla="*/ 51466 h 62"/>
              <a:gd name="T20" fmla="*/ 123669 w 61"/>
              <a:gd name="T21" fmla="*/ 44604 h 62"/>
              <a:gd name="T22" fmla="*/ 168327 w 61"/>
              <a:gd name="T23" fmla="*/ 0 h 62"/>
              <a:gd name="T24" fmla="*/ 209550 w 61"/>
              <a:gd name="T25" fmla="*/ 44604 h 62"/>
              <a:gd name="T26" fmla="*/ 168327 w 61"/>
              <a:gd name="T27" fmla="*/ 89207 h 62"/>
              <a:gd name="T28" fmla="*/ 137410 w 61"/>
              <a:gd name="T29" fmla="*/ 78914 h 62"/>
              <a:gd name="T30" fmla="*/ 85881 w 61"/>
              <a:gd name="T31" fmla="*/ 102931 h 62"/>
              <a:gd name="T32" fmla="*/ 85881 w 61"/>
              <a:gd name="T33" fmla="*/ 106363 h 62"/>
              <a:gd name="T34" fmla="*/ 85881 w 61"/>
              <a:gd name="T35" fmla="*/ 113225 h 62"/>
              <a:gd name="T36" fmla="*/ 137410 w 61"/>
              <a:gd name="T37" fmla="*/ 137242 h 62"/>
              <a:gd name="T38" fmla="*/ 168327 w 61"/>
              <a:gd name="T39" fmla="*/ 123518 h 62"/>
              <a:gd name="T40" fmla="*/ 209550 w 61"/>
              <a:gd name="T41" fmla="*/ 168121 h 6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61" h="62">
                <a:moveTo>
                  <a:pt x="61" y="49"/>
                </a:moveTo>
                <a:cubicBezTo>
                  <a:pt x="61" y="56"/>
                  <a:pt x="56" y="62"/>
                  <a:pt x="49" y="62"/>
                </a:cubicBezTo>
                <a:cubicBezTo>
                  <a:pt x="41" y="62"/>
                  <a:pt x="36" y="56"/>
                  <a:pt x="36" y="49"/>
                </a:cubicBezTo>
                <a:cubicBezTo>
                  <a:pt x="36" y="49"/>
                  <a:pt x="36" y="48"/>
                  <a:pt x="36" y="48"/>
                </a:cubicBezTo>
                <a:cubicBezTo>
                  <a:pt x="21" y="41"/>
                  <a:pt x="21" y="41"/>
                  <a:pt x="21" y="41"/>
                </a:cubicBezTo>
                <a:cubicBezTo>
                  <a:pt x="19" y="43"/>
                  <a:pt x="16" y="44"/>
                  <a:pt x="13" y="44"/>
                </a:cubicBezTo>
                <a:cubicBezTo>
                  <a:pt x="6" y="44"/>
                  <a:pt x="0" y="38"/>
                  <a:pt x="0" y="31"/>
                </a:cubicBezTo>
                <a:cubicBezTo>
                  <a:pt x="0" y="24"/>
                  <a:pt x="6" y="18"/>
                  <a:pt x="13" y="18"/>
                </a:cubicBezTo>
                <a:cubicBezTo>
                  <a:pt x="16" y="18"/>
                  <a:pt x="19" y="20"/>
                  <a:pt x="21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6" y="14"/>
                  <a:pt x="36" y="14"/>
                  <a:pt x="36" y="13"/>
                </a:cubicBezTo>
                <a:cubicBezTo>
                  <a:pt x="36" y="6"/>
                  <a:pt x="41" y="0"/>
                  <a:pt x="49" y="0"/>
                </a:cubicBezTo>
                <a:cubicBezTo>
                  <a:pt x="56" y="0"/>
                  <a:pt x="61" y="6"/>
                  <a:pt x="61" y="13"/>
                </a:cubicBezTo>
                <a:cubicBezTo>
                  <a:pt x="61" y="20"/>
                  <a:pt x="56" y="26"/>
                  <a:pt x="49" y="26"/>
                </a:cubicBezTo>
                <a:cubicBezTo>
                  <a:pt x="45" y="26"/>
                  <a:pt x="42" y="25"/>
                  <a:pt x="40" y="23"/>
                </a:cubicBezTo>
                <a:cubicBezTo>
                  <a:pt x="25" y="30"/>
                  <a:pt x="25" y="30"/>
                  <a:pt x="25" y="30"/>
                </a:cubicBezTo>
                <a:cubicBezTo>
                  <a:pt x="25" y="30"/>
                  <a:pt x="25" y="31"/>
                  <a:pt x="25" y="31"/>
                </a:cubicBezTo>
                <a:cubicBezTo>
                  <a:pt x="25" y="32"/>
                  <a:pt x="25" y="32"/>
                  <a:pt x="25" y="33"/>
                </a:cubicBezTo>
                <a:cubicBezTo>
                  <a:pt x="40" y="40"/>
                  <a:pt x="40" y="40"/>
                  <a:pt x="40" y="40"/>
                </a:cubicBezTo>
                <a:cubicBezTo>
                  <a:pt x="42" y="38"/>
                  <a:pt x="45" y="36"/>
                  <a:pt x="49" y="36"/>
                </a:cubicBezTo>
                <a:cubicBezTo>
                  <a:pt x="56" y="36"/>
                  <a:pt x="61" y="42"/>
                  <a:pt x="61" y="4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685800"/>
            <a:endParaRPr lang="en-US" sz="4400">
              <a:solidFill>
                <a:srgbClr val="70707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1" name="Freeform 27">
            <a:extLst>
              <a:ext uri="{FF2B5EF4-FFF2-40B4-BE49-F238E27FC236}">
                <a16:creationId xmlns:a16="http://schemas.microsoft.com/office/drawing/2014/main" id="{025823FA-091D-42E8-BAB3-40A690CC0EF3}"/>
              </a:ext>
            </a:extLst>
          </p:cNvPr>
          <p:cNvSpPr>
            <a:spLocks noEditPoints="1"/>
          </p:cNvSpPr>
          <p:nvPr/>
        </p:nvSpPr>
        <p:spPr bwMode="auto">
          <a:xfrm>
            <a:off x="6514743" y="9252391"/>
            <a:ext cx="752354" cy="752355"/>
          </a:xfrm>
          <a:custGeom>
            <a:avLst/>
            <a:gdLst>
              <a:gd name="T0" fmla="*/ 360685 w 256"/>
              <a:gd name="T1" fmla="*/ 250205 h 256"/>
              <a:gd name="T2" fmla="*/ 346063 w 256"/>
              <a:gd name="T3" fmla="*/ 285948 h 256"/>
              <a:gd name="T4" fmla="*/ 359060 w 256"/>
              <a:gd name="T5" fmla="*/ 349312 h 256"/>
              <a:gd name="T6" fmla="*/ 349312 w 256"/>
              <a:gd name="T7" fmla="*/ 360685 h 256"/>
              <a:gd name="T8" fmla="*/ 285948 w 256"/>
              <a:gd name="T9" fmla="*/ 344438 h 256"/>
              <a:gd name="T10" fmla="*/ 246955 w 256"/>
              <a:gd name="T11" fmla="*/ 360685 h 256"/>
              <a:gd name="T12" fmla="*/ 250205 w 256"/>
              <a:gd name="T13" fmla="*/ 360685 h 256"/>
              <a:gd name="T14" fmla="*/ 212837 w 256"/>
              <a:gd name="T15" fmla="*/ 415925 h 256"/>
              <a:gd name="T16" fmla="*/ 203088 w 256"/>
              <a:gd name="T17" fmla="*/ 415925 h 256"/>
              <a:gd name="T18" fmla="*/ 165720 w 256"/>
              <a:gd name="T19" fmla="*/ 359060 h 256"/>
              <a:gd name="T20" fmla="*/ 128352 w 256"/>
              <a:gd name="T21" fmla="*/ 342813 h 256"/>
              <a:gd name="T22" fmla="*/ 129977 w 256"/>
              <a:gd name="T23" fmla="*/ 346063 h 256"/>
              <a:gd name="T24" fmla="*/ 64988 w 256"/>
              <a:gd name="T25" fmla="*/ 359060 h 256"/>
              <a:gd name="T26" fmla="*/ 56865 w 256"/>
              <a:gd name="T27" fmla="*/ 350937 h 256"/>
              <a:gd name="T28" fmla="*/ 71487 w 256"/>
              <a:gd name="T29" fmla="*/ 284324 h 256"/>
              <a:gd name="T30" fmla="*/ 56865 w 256"/>
              <a:gd name="T31" fmla="*/ 250205 h 256"/>
              <a:gd name="T32" fmla="*/ 0 w 256"/>
              <a:gd name="T33" fmla="*/ 212837 h 256"/>
              <a:gd name="T34" fmla="*/ 0 w 256"/>
              <a:gd name="T35" fmla="*/ 203088 h 256"/>
              <a:gd name="T36" fmla="*/ 56865 w 256"/>
              <a:gd name="T37" fmla="*/ 165720 h 256"/>
              <a:gd name="T38" fmla="*/ 71487 w 256"/>
              <a:gd name="T39" fmla="*/ 129977 h 256"/>
              <a:gd name="T40" fmla="*/ 55240 w 256"/>
              <a:gd name="T41" fmla="*/ 64988 h 256"/>
              <a:gd name="T42" fmla="*/ 64988 w 256"/>
              <a:gd name="T43" fmla="*/ 56865 h 256"/>
              <a:gd name="T44" fmla="*/ 129977 w 256"/>
              <a:gd name="T45" fmla="*/ 69862 h 256"/>
              <a:gd name="T46" fmla="*/ 165720 w 256"/>
              <a:gd name="T47" fmla="*/ 55240 h 256"/>
              <a:gd name="T48" fmla="*/ 203088 w 256"/>
              <a:gd name="T49" fmla="*/ 0 h 256"/>
              <a:gd name="T50" fmla="*/ 212837 w 256"/>
              <a:gd name="T51" fmla="*/ 0 h 256"/>
              <a:gd name="T52" fmla="*/ 250205 w 256"/>
              <a:gd name="T53" fmla="*/ 55240 h 256"/>
              <a:gd name="T54" fmla="*/ 285948 w 256"/>
              <a:gd name="T55" fmla="*/ 69862 h 256"/>
              <a:gd name="T56" fmla="*/ 350937 w 256"/>
              <a:gd name="T57" fmla="*/ 55240 h 256"/>
              <a:gd name="T58" fmla="*/ 360685 w 256"/>
              <a:gd name="T59" fmla="*/ 64988 h 256"/>
              <a:gd name="T60" fmla="*/ 346063 w 256"/>
              <a:gd name="T61" fmla="*/ 129977 h 256"/>
              <a:gd name="T62" fmla="*/ 360685 w 256"/>
              <a:gd name="T63" fmla="*/ 165720 h 256"/>
              <a:gd name="T64" fmla="*/ 415925 w 256"/>
              <a:gd name="T65" fmla="*/ 203088 h 256"/>
              <a:gd name="T66" fmla="*/ 415925 w 256"/>
              <a:gd name="T67" fmla="*/ 212837 h 256"/>
              <a:gd name="T68" fmla="*/ 360685 w 256"/>
              <a:gd name="T69" fmla="*/ 250205 h 256"/>
              <a:gd name="T70" fmla="*/ 207963 w 256"/>
              <a:gd name="T71" fmla="*/ 90984 h 256"/>
              <a:gd name="T72" fmla="*/ 90984 w 256"/>
              <a:gd name="T73" fmla="*/ 207963 h 256"/>
              <a:gd name="T74" fmla="*/ 207963 w 256"/>
              <a:gd name="T75" fmla="*/ 324941 h 256"/>
              <a:gd name="T76" fmla="*/ 324941 w 256"/>
              <a:gd name="T77" fmla="*/ 207963 h 256"/>
              <a:gd name="T78" fmla="*/ 207963 w 256"/>
              <a:gd name="T79" fmla="*/ 90984 h 256"/>
              <a:gd name="T80" fmla="*/ 207963 w 256"/>
              <a:gd name="T81" fmla="*/ 285948 h 256"/>
              <a:gd name="T82" fmla="*/ 129977 w 256"/>
              <a:gd name="T83" fmla="*/ 207963 h 256"/>
              <a:gd name="T84" fmla="*/ 207963 w 256"/>
              <a:gd name="T85" fmla="*/ 129977 h 256"/>
              <a:gd name="T86" fmla="*/ 285948 w 256"/>
              <a:gd name="T87" fmla="*/ 207963 h 256"/>
              <a:gd name="T88" fmla="*/ 207963 w 256"/>
              <a:gd name="T89" fmla="*/ 285948 h 256"/>
              <a:gd name="T90" fmla="*/ 207963 w 256"/>
              <a:gd name="T91" fmla="*/ 168970 h 256"/>
              <a:gd name="T92" fmla="*/ 168970 w 256"/>
              <a:gd name="T93" fmla="*/ 207963 h 256"/>
              <a:gd name="T94" fmla="*/ 207963 w 256"/>
              <a:gd name="T95" fmla="*/ 246955 h 256"/>
              <a:gd name="T96" fmla="*/ 246955 w 256"/>
              <a:gd name="T97" fmla="*/ 207963 h 256"/>
              <a:gd name="T98" fmla="*/ 207963 w 256"/>
              <a:gd name="T99" fmla="*/ 168970 h 25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256" h="256">
                <a:moveTo>
                  <a:pt x="222" y="154"/>
                </a:moveTo>
                <a:cubicBezTo>
                  <a:pt x="220" y="162"/>
                  <a:pt x="217" y="169"/>
                  <a:pt x="213" y="176"/>
                </a:cubicBezTo>
                <a:cubicBezTo>
                  <a:pt x="213" y="177"/>
                  <a:pt x="234" y="203"/>
                  <a:pt x="221" y="215"/>
                </a:cubicBezTo>
                <a:cubicBezTo>
                  <a:pt x="215" y="222"/>
                  <a:pt x="215" y="222"/>
                  <a:pt x="215" y="222"/>
                </a:cubicBezTo>
                <a:cubicBezTo>
                  <a:pt x="205" y="231"/>
                  <a:pt x="182" y="216"/>
                  <a:pt x="176" y="212"/>
                </a:cubicBezTo>
                <a:cubicBezTo>
                  <a:pt x="169" y="217"/>
                  <a:pt x="161" y="220"/>
                  <a:pt x="152" y="222"/>
                </a:cubicBezTo>
                <a:cubicBezTo>
                  <a:pt x="154" y="222"/>
                  <a:pt x="154" y="222"/>
                  <a:pt x="154" y="222"/>
                </a:cubicBezTo>
                <a:cubicBezTo>
                  <a:pt x="154" y="222"/>
                  <a:pt x="150" y="256"/>
                  <a:pt x="131" y="256"/>
                </a:cubicBezTo>
                <a:cubicBezTo>
                  <a:pt x="125" y="256"/>
                  <a:pt x="125" y="256"/>
                  <a:pt x="125" y="256"/>
                </a:cubicBezTo>
                <a:cubicBezTo>
                  <a:pt x="111" y="256"/>
                  <a:pt x="103" y="227"/>
                  <a:pt x="102" y="221"/>
                </a:cubicBezTo>
                <a:cubicBezTo>
                  <a:pt x="94" y="219"/>
                  <a:pt x="86" y="216"/>
                  <a:pt x="79" y="211"/>
                </a:cubicBezTo>
                <a:cubicBezTo>
                  <a:pt x="80" y="213"/>
                  <a:pt x="80" y="213"/>
                  <a:pt x="80" y="213"/>
                </a:cubicBezTo>
                <a:cubicBezTo>
                  <a:pt x="80" y="213"/>
                  <a:pt x="53" y="234"/>
                  <a:pt x="40" y="221"/>
                </a:cubicBezTo>
                <a:cubicBezTo>
                  <a:pt x="35" y="216"/>
                  <a:pt x="35" y="216"/>
                  <a:pt x="35" y="216"/>
                </a:cubicBezTo>
                <a:cubicBezTo>
                  <a:pt x="25" y="206"/>
                  <a:pt x="41" y="180"/>
                  <a:pt x="44" y="175"/>
                </a:cubicBezTo>
                <a:cubicBezTo>
                  <a:pt x="40" y="169"/>
                  <a:pt x="37" y="162"/>
                  <a:pt x="35" y="154"/>
                </a:cubicBezTo>
                <a:cubicBezTo>
                  <a:pt x="29" y="153"/>
                  <a:pt x="0" y="145"/>
                  <a:pt x="0" y="131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108"/>
                  <a:pt x="28" y="103"/>
                  <a:pt x="35" y="102"/>
                </a:cubicBezTo>
                <a:cubicBezTo>
                  <a:pt x="37" y="94"/>
                  <a:pt x="40" y="87"/>
                  <a:pt x="44" y="80"/>
                </a:cubicBezTo>
                <a:cubicBezTo>
                  <a:pt x="41" y="76"/>
                  <a:pt x="24" y="50"/>
                  <a:pt x="34" y="40"/>
                </a:cubicBezTo>
                <a:cubicBezTo>
                  <a:pt x="40" y="35"/>
                  <a:pt x="40" y="35"/>
                  <a:pt x="40" y="35"/>
                </a:cubicBezTo>
                <a:cubicBezTo>
                  <a:pt x="51" y="23"/>
                  <a:pt x="75" y="39"/>
                  <a:pt x="80" y="43"/>
                </a:cubicBezTo>
                <a:cubicBezTo>
                  <a:pt x="87" y="39"/>
                  <a:pt x="94" y="36"/>
                  <a:pt x="102" y="34"/>
                </a:cubicBezTo>
                <a:cubicBezTo>
                  <a:pt x="104" y="27"/>
                  <a:pt x="112" y="0"/>
                  <a:pt x="125" y="0"/>
                </a:cubicBezTo>
                <a:cubicBezTo>
                  <a:pt x="131" y="0"/>
                  <a:pt x="131" y="0"/>
                  <a:pt x="131" y="0"/>
                </a:cubicBezTo>
                <a:cubicBezTo>
                  <a:pt x="147" y="0"/>
                  <a:pt x="153" y="26"/>
                  <a:pt x="154" y="34"/>
                </a:cubicBezTo>
                <a:cubicBezTo>
                  <a:pt x="162" y="36"/>
                  <a:pt x="169" y="39"/>
                  <a:pt x="176" y="43"/>
                </a:cubicBezTo>
                <a:cubicBezTo>
                  <a:pt x="182" y="39"/>
                  <a:pt x="206" y="24"/>
                  <a:pt x="216" y="34"/>
                </a:cubicBezTo>
                <a:cubicBezTo>
                  <a:pt x="222" y="40"/>
                  <a:pt x="222" y="40"/>
                  <a:pt x="222" y="40"/>
                </a:cubicBezTo>
                <a:cubicBezTo>
                  <a:pt x="233" y="51"/>
                  <a:pt x="217" y="74"/>
                  <a:pt x="213" y="80"/>
                </a:cubicBezTo>
                <a:cubicBezTo>
                  <a:pt x="217" y="87"/>
                  <a:pt x="220" y="94"/>
                  <a:pt x="222" y="102"/>
                </a:cubicBezTo>
                <a:cubicBezTo>
                  <a:pt x="224" y="102"/>
                  <a:pt x="256" y="107"/>
                  <a:pt x="256" y="125"/>
                </a:cubicBezTo>
                <a:cubicBezTo>
                  <a:pt x="256" y="131"/>
                  <a:pt x="256" y="131"/>
                  <a:pt x="256" y="131"/>
                </a:cubicBezTo>
                <a:cubicBezTo>
                  <a:pt x="256" y="144"/>
                  <a:pt x="229" y="152"/>
                  <a:pt x="222" y="154"/>
                </a:cubicBezTo>
                <a:moveTo>
                  <a:pt x="128" y="56"/>
                </a:moveTo>
                <a:cubicBezTo>
                  <a:pt x="88" y="56"/>
                  <a:pt x="56" y="88"/>
                  <a:pt x="56" y="128"/>
                </a:cubicBezTo>
                <a:cubicBezTo>
                  <a:pt x="56" y="168"/>
                  <a:pt x="88" y="200"/>
                  <a:pt x="128" y="200"/>
                </a:cubicBezTo>
                <a:cubicBezTo>
                  <a:pt x="168" y="200"/>
                  <a:pt x="200" y="168"/>
                  <a:pt x="200" y="128"/>
                </a:cubicBezTo>
                <a:cubicBezTo>
                  <a:pt x="200" y="88"/>
                  <a:pt x="168" y="56"/>
                  <a:pt x="128" y="56"/>
                </a:cubicBezTo>
                <a:moveTo>
                  <a:pt x="128" y="176"/>
                </a:moveTo>
                <a:cubicBezTo>
                  <a:pt x="101" y="176"/>
                  <a:pt x="80" y="155"/>
                  <a:pt x="80" y="128"/>
                </a:cubicBezTo>
                <a:cubicBezTo>
                  <a:pt x="80" y="101"/>
                  <a:pt x="101" y="80"/>
                  <a:pt x="128" y="80"/>
                </a:cubicBezTo>
                <a:cubicBezTo>
                  <a:pt x="155" y="80"/>
                  <a:pt x="176" y="101"/>
                  <a:pt x="176" y="128"/>
                </a:cubicBezTo>
                <a:cubicBezTo>
                  <a:pt x="176" y="155"/>
                  <a:pt x="155" y="176"/>
                  <a:pt x="128" y="176"/>
                </a:cubicBezTo>
                <a:moveTo>
                  <a:pt x="128" y="104"/>
                </a:moveTo>
                <a:cubicBezTo>
                  <a:pt x="115" y="104"/>
                  <a:pt x="104" y="115"/>
                  <a:pt x="104" y="128"/>
                </a:cubicBezTo>
                <a:cubicBezTo>
                  <a:pt x="104" y="141"/>
                  <a:pt x="115" y="152"/>
                  <a:pt x="128" y="152"/>
                </a:cubicBezTo>
                <a:cubicBezTo>
                  <a:pt x="141" y="152"/>
                  <a:pt x="152" y="141"/>
                  <a:pt x="152" y="128"/>
                </a:cubicBezTo>
                <a:cubicBezTo>
                  <a:pt x="152" y="115"/>
                  <a:pt x="141" y="104"/>
                  <a:pt x="128" y="104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pPr defTabSz="685800"/>
            <a:endParaRPr lang="en-US" sz="4400">
              <a:solidFill>
                <a:srgbClr val="70707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656AE0A-4BE9-4134-A2DC-FC8A96E081B1}"/>
              </a:ext>
            </a:extLst>
          </p:cNvPr>
          <p:cNvGrpSpPr/>
          <p:nvPr/>
        </p:nvGrpSpPr>
        <p:grpSpPr>
          <a:xfrm>
            <a:off x="15426675" y="6218882"/>
            <a:ext cx="901229" cy="896661"/>
            <a:chOff x="2046288" y="3759200"/>
            <a:chExt cx="296863" cy="271462"/>
          </a:xfrm>
          <a:solidFill>
            <a:schemeClr val="bg1">
              <a:lumMod val="50000"/>
            </a:schemeClr>
          </a:solidFill>
        </p:grpSpPr>
        <p:sp>
          <p:nvSpPr>
            <p:cNvPr id="103" name="Rectangle 160">
              <a:extLst>
                <a:ext uri="{FF2B5EF4-FFF2-40B4-BE49-F238E27FC236}">
                  <a16:creationId xmlns:a16="http://schemas.microsoft.com/office/drawing/2014/main" id="{44BE7639-EC00-49D8-B596-B5676996C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5338" y="3973512"/>
              <a:ext cx="55563" cy="57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4" name="Rectangle 161">
              <a:extLst>
                <a:ext uri="{FF2B5EF4-FFF2-40B4-BE49-F238E27FC236}">
                  <a16:creationId xmlns:a16="http://schemas.microsoft.com/office/drawing/2014/main" id="{4466721B-8D58-4F03-847C-A8F88A113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9950" y="3935412"/>
              <a:ext cx="55563" cy="952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5" name="Rectangle 162">
              <a:extLst>
                <a:ext uri="{FF2B5EF4-FFF2-40B4-BE49-F238E27FC236}">
                  <a16:creationId xmlns:a16="http://schemas.microsoft.com/office/drawing/2014/main" id="{94D2B401-E2A1-4B75-B821-5CF604AB5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2975" y="3898899"/>
              <a:ext cx="57150" cy="1317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6" name="Rectangle 163">
              <a:extLst>
                <a:ext uri="{FF2B5EF4-FFF2-40B4-BE49-F238E27FC236}">
                  <a16:creationId xmlns:a16="http://schemas.microsoft.com/office/drawing/2014/main" id="{390CFEBE-6308-405F-B6BF-4910A8518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7588" y="3860793"/>
              <a:ext cx="55563" cy="1698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7" name="Freeform 164">
              <a:extLst>
                <a:ext uri="{FF2B5EF4-FFF2-40B4-BE49-F238E27FC236}">
                  <a16:creationId xmlns:a16="http://schemas.microsoft.com/office/drawing/2014/main" id="{8564DEC2-77D3-4417-9C69-815BCADA9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6288" y="3759200"/>
              <a:ext cx="296863" cy="176213"/>
            </a:xfrm>
            <a:custGeom>
              <a:avLst/>
              <a:gdLst/>
              <a:ahLst/>
              <a:cxnLst>
                <a:cxn ang="0">
                  <a:pos x="162" y="25"/>
                </a:cxn>
                <a:cxn ang="0">
                  <a:pos x="126" y="25"/>
                </a:cxn>
                <a:cxn ang="0">
                  <a:pos x="81" y="59"/>
                </a:cxn>
                <a:cxn ang="0">
                  <a:pos x="59" y="48"/>
                </a:cxn>
                <a:cxn ang="0">
                  <a:pos x="0" y="96"/>
                </a:cxn>
                <a:cxn ang="0">
                  <a:pos x="0" y="111"/>
                </a:cxn>
                <a:cxn ang="0">
                  <a:pos x="60" y="62"/>
                </a:cxn>
                <a:cxn ang="0">
                  <a:pos x="83" y="74"/>
                </a:cxn>
                <a:cxn ang="0">
                  <a:pos x="131" y="37"/>
                </a:cxn>
                <a:cxn ang="0">
                  <a:pos x="166" y="37"/>
                </a:cxn>
                <a:cxn ang="0">
                  <a:pos x="187" y="16"/>
                </a:cxn>
                <a:cxn ang="0">
                  <a:pos x="187" y="0"/>
                </a:cxn>
                <a:cxn ang="0">
                  <a:pos x="162" y="25"/>
                </a:cxn>
              </a:cxnLst>
              <a:rect l="0" t="0" r="r" b="b"/>
              <a:pathLst>
                <a:path w="187" h="111">
                  <a:moveTo>
                    <a:pt x="162" y="25"/>
                  </a:moveTo>
                  <a:lnTo>
                    <a:pt x="126" y="25"/>
                  </a:lnTo>
                  <a:lnTo>
                    <a:pt x="81" y="59"/>
                  </a:lnTo>
                  <a:lnTo>
                    <a:pt x="59" y="48"/>
                  </a:lnTo>
                  <a:lnTo>
                    <a:pt x="0" y="96"/>
                  </a:lnTo>
                  <a:lnTo>
                    <a:pt x="0" y="111"/>
                  </a:lnTo>
                  <a:lnTo>
                    <a:pt x="60" y="62"/>
                  </a:lnTo>
                  <a:lnTo>
                    <a:pt x="83" y="74"/>
                  </a:lnTo>
                  <a:lnTo>
                    <a:pt x="131" y="37"/>
                  </a:lnTo>
                  <a:lnTo>
                    <a:pt x="166" y="37"/>
                  </a:lnTo>
                  <a:lnTo>
                    <a:pt x="187" y="16"/>
                  </a:lnTo>
                  <a:lnTo>
                    <a:pt x="187" y="0"/>
                  </a:lnTo>
                  <a:lnTo>
                    <a:pt x="162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4400">
                <a:solidFill>
                  <a:srgbClr val="70707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EBAC4D87-F1C9-4898-B559-94B79E13DDD3}"/>
              </a:ext>
            </a:extLst>
          </p:cNvPr>
          <p:cNvGrpSpPr/>
          <p:nvPr/>
        </p:nvGrpSpPr>
        <p:grpSpPr>
          <a:xfrm>
            <a:off x="4372279" y="1904413"/>
            <a:ext cx="22759795" cy="11609785"/>
            <a:chOff x="586525" y="1367957"/>
            <a:chExt cx="11013408" cy="4654603"/>
          </a:xfrm>
        </p:grpSpPr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5A8A27F4-1E5A-4E2F-8D0C-EBB8D85E6842}"/>
                </a:ext>
              </a:extLst>
            </p:cNvPr>
            <p:cNvCxnSpPr>
              <a:cxnSpLocks/>
            </p:cNvCxnSpPr>
            <p:nvPr/>
          </p:nvCxnSpPr>
          <p:spPr>
            <a:xfrm>
              <a:off x="586525" y="5992920"/>
              <a:ext cx="11013408" cy="13452"/>
            </a:xfrm>
            <a:prstGeom prst="straightConnector1">
              <a:avLst/>
            </a:prstGeom>
            <a:noFill/>
            <a:ln w="66675" cap="flat" cmpd="sng" algn="ctr">
              <a:solidFill>
                <a:schemeClr val="accent2"/>
              </a:solidFill>
              <a:prstDash val="solid"/>
              <a:headEnd type="none"/>
              <a:tailEnd type="stealth" w="lg" len="med"/>
            </a:ln>
            <a:effectLst/>
          </p:spPr>
        </p:cxn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D3A90033-4738-4182-99DA-E473BB446A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7152" y="1367957"/>
              <a:ext cx="43801" cy="4654603"/>
            </a:xfrm>
            <a:prstGeom prst="straightConnector1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headEnd type="none"/>
              <a:tailEnd type="stealth" w="lg" len="med"/>
            </a:ln>
            <a:effectLst/>
          </p:spPr>
        </p:cxnSp>
      </p:grpSp>
      <p:sp>
        <p:nvSpPr>
          <p:cNvPr id="112" name="Arrow: Right 111">
            <a:extLst>
              <a:ext uri="{FF2B5EF4-FFF2-40B4-BE49-F238E27FC236}">
                <a16:creationId xmlns:a16="http://schemas.microsoft.com/office/drawing/2014/main" id="{62AC9DA2-2BCF-4AFC-9DEB-9F1A3C13C239}"/>
              </a:ext>
            </a:extLst>
          </p:cNvPr>
          <p:cNvSpPr/>
          <p:nvPr/>
        </p:nvSpPr>
        <p:spPr>
          <a:xfrm>
            <a:off x="3957529" y="2694991"/>
            <a:ext cx="22759795" cy="838938"/>
          </a:xfrm>
          <a:prstGeom prst="rightArrow">
            <a:avLst/>
          </a:prstGeom>
          <a:solidFill>
            <a:schemeClr val="tx2"/>
          </a:solidFill>
          <a:ln>
            <a:noFill/>
          </a:ln>
          <a:effectLst/>
        </p:spPr>
        <p:txBody>
          <a:bodyPr rtlCol="0" anchor="ctr"/>
          <a:lstStyle/>
          <a:p>
            <a:pPr marL="1028700" lvl="3" defTabSz="685800">
              <a:defRPr/>
            </a:pPr>
            <a:r>
              <a:rPr lang="en-US" sz="2800" b="1" ker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ctive                                                                              Managed                                                                                        Optimized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0A3D8AB3-2571-4B50-95B6-685B4D2580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2019945" y="12475699"/>
            <a:ext cx="4056746" cy="759919"/>
          </a:xfrm>
          <a:prstGeom prst="rect">
            <a:avLst/>
          </a:prstGeom>
          <a:solidFill>
            <a:schemeClr val="accent1">
              <a:lumMod val="50000"/>
              <a:alpha val="62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56938B7-ECAA-4125-8AAC-E1EAEDB9684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024415" y="12475580"/>
            <a:ext cx="3948790" cy="759919"/>
          </a:xfrm>
          <a:prstGeom prst="rect">
            <a:avLst/>
          </a:prstGeom>
          <a:solidFill>
            <a:schemeClr val="accent1">
              <a:lumMod val="75000"/>
              <a:alpha val="6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FD3B2F6F-9009-40FE-8E6D-850C82FB26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090797" y="12475580"/>
            <a:ext cx="3882334" cy="759919"/>
          </a:xfrm>
          <a:prstGeom prst="rect">
            <a:avLst/>
          </a:prstGeom>
          <a:solidFill>
            <a:schemeClr val="accent1">
              <a:lumMod val="60000"/>
              <a:lumOff val="40000"/>
              <a:alpha val="6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BF5DC7E-6D83-4E2B-AE4A-316ABE8FD57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0189244" y="12475699"/>
            <a:ext cx="3857055" cy="759919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39D4925-931C-46EC-8AD7-CBB9F366374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62668" y="12471504"/>
            <a:ext cx="5474181" cy="768072"/>
          </a:xfrm>
          <a:prstGeom prst="rect">
            <a:avLst/>
          </a:prstGeom>
          <a:solidFill>
            <a:schemeClr val="accent1">
              <a:lumMod val="20000"/>
              <a:lumOff val="80000"/>
              <a:alpha val="18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AC1B188-8F83-4FE0-B11C-3F64FCA0A5A5}"/>
              </a:ext>
            </a:extLst>
          </p:cNvPr>
          <p:cNvSpPr txBox="1"/>
          <p:nvPr/>
        </p:nvSpPr>
        <p:spPr>
          <a:xfrm>
            <a:off x="5977861" y="12615477"/>
            <a:ext cx="2796611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US" sz="2800">
                <a:solidFill>
                  <a:schemeClr val="accent4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 1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C490B9F-BA12-4B6B-8185-BD57B24387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666787" y="12646043"/>
            <a:ext cx="2796611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US" sz="2800">
                <a:solidFill>
                  <a:schemeClr val="accent4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 2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B734C8A-385A-4CC3-92BD-40E382565944}"/>
              </a:ext>
            </a:extLst>
          </p:cNvPr>
          <p:cNvSpPr txBox="1"/>
          <p:nvPr/>
        </p:nvSpPr>
        <p:spPr>
          <a:xfrm>
            <a:off x="14561510" y="12646043"/>
            <a:ext cx="2796611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US" sz="2800">
                <a:solidFill>
                  <a:schemeClr val="accent4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 3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3CCEC38-C969-438E-8E15-C83E5CE6C7A7}"/>
              </a:ext>
            </a:extLst>
          </p:cNvPr>
          <p:cNvSpPr txBox="1"/>
          <p:nvPr/>
        </p:nvSpPr>
        <p:spPr>
          <a:xfrm>
            <a:off x="18553533" y="12651657"/>
            <a:ext cx="2796611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US" sz="2800">
                <a:solidFill>
                  <a:schemeClr val="accent4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 4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982F819C-9D83-45F5-BE51-322156363D66}"/>
              </a:ext>
            </a:extLst>
          </p:cNvPr>
          <p:cNvSpPr txBox="1"/>
          <p:nvPr/>
        </p:nvSpPr>
        <p:spPr>
          <a:xfrm>
            <a:off x="22448341" y="12588504"/>
            <a:ext cx="2796611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</a:pPr>
            <a:r>
              <a:rPr lang="en-US" sz="2800">
                <a:solidFill>
                  <a:schemeClr val="accent4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vel 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EA0705-B4C8-4631-A9D0-3F28665959E3}"/>
              </a:ext>
            </a:extLst>
          </p:cNvPr>
          <p:cNvSpPr txBox="1"/>
          <p:nvPr/>
        </p:nvSpPr>
        <p:spPr>
          <a:xfrm>
            <a:off x="22740894" y="13486034"/>
            <a:ext cx="3372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>
                <a:solidFill>
                  <a:schemeClr val="tx2"/>
                </a:solidFill>
              </a:rPr>
              <a:t>Digital Capability 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D307FC5F-5034-4CC2-8874-F40AF7D09F54}"/>
              </a:ext>
            </a:extLst>
          </p:cNvPr>
          <p:cNvSpPr txBox="1"/>
          <p:nvPr/>
        </p:nvSpPr>
        <p:spPr>
          <a:xfrm rot="16200000">
            <a:off x="1726967" y="5636071"/>
            <a:ext cx="48165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chemeClr val="tx2"/>
                </a:solidFill>
              </a:rPr>
              <a:t>Competitive Advantage</a:t>
            </a:r>
          </a:p>
        </p:txBody>
      </p:sp>
    </p:spTree>
    <p:extLst>
      <p:ext uri="{BB962C8B-B14F-4D97-AF65-F5344CB8AC3E}">
        <p14:creationId xmlns:p14="http://schemas.microsoft.com/office/powerpoint/2010/main" val="1776751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8C5F806-F7D6-449B-D750-FB8A94C307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237" y="667358"/>
            <a:ext cx="13006316" cy="132949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504010-D5EC-8097-2B78-0B89B8AF593D}"/>
              </a:ext>
            </a:extLst>
          </p:cNvPr>
          <p:cNvSpPr txBox="1"/>
          <p:nvPr/>
        </p:nvSpPr>
        <p:spPr>
          <a:xfrm>
            <a:off x="18028692" y="1020818"/>
            <a:ext cx="6728347" cy="1258806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22DB7"/>
                </a:solidFill>
              </a:rPr>
              <a:t>Aviation</a:t>
            </a:r>
          </a:p>
          <a:p>
            <a:r>
              <a:rPr lang="en-US" sz="2800" dirty="0">
                <a:solidFill>
                  <a:srgbClr val="022DB7"/>
                </a:solidFill>
              </a:rPr>
              <a:t>John F. Kennedy International Airport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LaGuardia Airport</a:t>
            </a:r>
          </a:p>
          <a:p>
            <a:r>
              <a:rPr lang="en-US" sz="2800" dirty="0">
                <a:solidFill>
                  <a:srgbClr val="022DB7"/>
                </a:solidFill>
              </a:rPr>
              <a:t>Newark Liberty International Airport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Stewart International Airport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Teterboro Airport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Bridges</a:t>
            </a:r>
          </a:p>
          <a:p>
            <a:r>
              <a:rPr lang="en-US" sz="2800" dirty="0">
                <a:solidFill>
                  <a:srgbClr val="022DB7"/>
                </a:solidFill>
              </a:rPr>
              <a:t>Bayonne Bridge</a:t>
            </a:r>
          </a:p>
          <a:p>
            <a:r>
              <a:rPr lang="en-US" sz="2800" dirty="0">
                <a:solidFill>
                  <a:srgbClr val="022DB7"/>
                </a:solidFill>
              </a:rPr>
              <a:t>George Washington Bridge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Goethals Bridge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Outerbridge Crossing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Terminals</a:t>
            </a:r>
          </a:p>
          <a:p>
            <a:r>
              <a:rPr lang="en-US" sz="2800" dirty="0">
                <a:solidFill>
                  <a:srgbClr val="022DB7"/>
                </a:solidFill>
              </a:rPr>
              <a:t>Port Authority Bus Terminal</a:t>
            </a:r>
          </a:p>
          <a:p>
            <a:r>
              <a:rPr lang="en-US" sz="2800" dirty="0">
                <a:solidFill>
                  <a:srgbClr val="022DB7"/>
                </a:solidFill>
              </a:rPr>
              <a:t>George Washington Bridge Bus Terminal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Journal Square Transportation Center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Tunnels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Holland Tunnel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Lincoln Tunnel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Ports</a:t>
            </a:r>
          </a:p>
          <a:p>
            <a:r>
              <a:rPr lang="en-US" sz="2800" dirty="0">
                <a:solidFill>
                  <a:srgbClr val="022DB7"/>
                </a:solidFill>
              </a:rPr>
              <a:t>Port Jersey-Port Authority Marine Terminal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Brooklyn-Port Authority Marine Terminal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Elizabeth-Port Authority Marine Terminal  </a:t>
            </a:r>
          </a:p>
          <a:p>
            <a:r>
              <a:rPr lang="en-US" sz="2800" dirty="0">
                <a:solidFill>
                  <a:srgbClr val="022DB7"/>
                </a:solidFill>
              </a:rPr>
              <a:t>Howland Hook Marine Terminal</a:t>
            </a:r>
          </a:p>
          <a:p>
            <a:r>
              <a:rPr lang="en-US" sz="2800" dirty="0">
                <a:solidFill>
                  <a:srgbClr val="022DB7"/>
                </a:solidFill>
              </a:rPr>
              <a:t>Port Newark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Port Authority Trans-Hudson</a:t>
            </a:r>
          </a:p>
          <a:p>
            <a:r>
              <a:rPr lang="en-US" sz="2800" dirty="0">
                <a:solidFill>
                  <a:srgbClr val="022DB7"/>
                </a:solidFill>
              </a:rPr>
              <a:t>PATH Rail Transit System</a:t>
            </a:r>
          </a:p>
          <a:p>
            <a:r>
              <a:rPr lang="en-US" sz="2800" b="1" dirty="0">
                <a:solidFill>
                  <a:srgbClr val="022DB7"/>
                </a:solidFill>
              </a:rPr>
              <a:t>World Trade Center</a:t>
            </a:r>
          </a:p>
          <a:p>
            <a:r>
              <a:rPr lang="en-US" sz="2800" dirty="0">
                <a:solidFill>
                  <a:srgbClr val="022DB7"/>
                </a:solidFill>
              </a:rPr>
              <a:t>WTC</a:t>
            </a:r>
          </a:p>
        </p:txBody>
      </p:sp>
    </p:spTree>
    <p:extLst>
      <p:ext uri="{BB962C8B-B14F-4D97-AF65-F5344CB8AC3E}">
        <p14:creationId xmlns:p14="http://schemas.microsoft.com/office/powerpoint/2010/main" val="36338667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2F6640-77B1-E517-7D08-7C5CD4644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529088" cy="1447442"/>
          </a:xfrm>
        </p:spPr>
        <p:txBody>
          <a:bodyPr/>
          <a:lstStyle/>
          <a:p>
            <a:r>
              <a:rPr lang="en-US" dirty="0"/>
              <a:t>Lessons Learne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E5175FA-3D37-B35A-6A5A-B89757A24B33}"/>
              </a:ext>
            </a:extLst>
          </p:cNvPr>
          <p:cNvGrpSpPr>
            <a:grpSpLocks/>
          </p:cNvGrpSpPr>
          <p:nvPr/>
        </p:nvGrpSpPr>
        <p:grpSpPr>
          <a:xfrm>
            <a:off x="1422352" y="3150424"/>
            <a:ext cx="27101029" cy="822960"/>
            <a:chOff x="1422352" y="3621478"/>
            <a:chExt cx="23598169" cy="82296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1F200E7-D38A-E205-9031-64F4AEC24100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3679015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reate a department policy and guidelines around innovation and improvement initiativ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4D27A5-327D-E658-D606-A67EE015E59A}"/>
                </a:ext>
              </a:extLst>
            </p:cNvPr>
            <p:cNvSpPr>
              <a:spLocks/>
            </p:cNvSpPr>
            <p:nvPr/>
          </p:nvSpPr>
          <p:spPr>
            <a:xfrm>
              <a:off x="1422352" y="3621478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1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67D792E-5A0B-A8D7-2A94-66C72833384B}"/>
              </a:ext>
            </a:extLst>
          </p:cNvPr>
          <p:cNvGrpSpPr>
            <a:grpSpLocks/>
          </p:cNvGrpSpPr>
          <p:nvPr/>
        </p:nvGrpSpPr>
        <p:grpSpPr>
          <a:xfrm>
            <a:off x="1422352" y="4664853"/>
            <a:ext cx="27101029" cy="822960"/>
            <a:chOff x="1422352" y="5135907"/>
            <a:chExt cx="23598169" cy="82296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7CB0347-299E-0546-744D-9959A7F9B219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5193444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evelop a ‘shared services’ approach to managing resources for innovation and improvement initiativ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2F41E4-581B-50EE-08A9-437CB9057007}"/>
                </a:ext>
              </a:extLst>
            </p:cNvPr>
            <p:cNvSpPr>
              <a:spLocks/>
            </p:cNvSpPr>
            <p:nvPr/>
          </p:nvSpPr>
          <p:spPr>
            <a:xfrm>
              <a:off x="1422352" y="5135907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2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C55E5F-73B3-3355-73AB-EA6DDDA02006}"/>
              </a:ext>
            </a:extLst>
          </p:cNvPr>
          <p:cNvGrpSpPr>
            <a:grpSpLocks/>
          </p:cNvGrpSpPr>
          <p:nvPr/>
        </p:nvGrpSpPr>
        <p:grpSpPr>
          <a:xfrm>
            <a:off x="1422352" y="6115816"/>
            <a:ext cx="27101029" cy="822960"/>
            <a:chOff x="1422352" y="6586870"/>
            <a:chExt cx="23598169" cy="82296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40CF60E-4DDC-6DD8-1167-60D62429CB30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6644407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Have clear accountability and ownership, with a delineation for innovation and business-as-usual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C998C2D-D633-7E15-AE92-9F373A676F5C}"/>
                </a:ext>
              </a:extLst>
            </p:cNvPr>
            <p:cNvSpPr>
              <a:spLocks/>
            </p:cNvSpPr>
            <p:nvPr/>
          </p:nvSpPr>
          <p:spPr>
            <a:xfrm>
              <a:off x="1422352" y="6586870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3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EDA23B4-EF5B-E729-89D3-57E1E1CCD401}"/>
              </a:ext>
            </a:extLst>
          </p:cNvPr>
          <p:cNvGrpSpPr>
            <a:grpSpLocks/>
          </p:cNvGrpSpPr>
          <p:nvPr/>
        </p:nvGrpSpPr>
        <p:grpSpPr>
          <a:xfrm>
            <a:off x="1422352" y="7625654"/>
            <a:ext cx="27101029" cy="822960"/>
            <a:chOff x="1422352" y="6586870"/>
            <a:chExt cx="23598169" cy="82296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F85DD54-479A-6E8E-2063-FC171A7CBB30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6644407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dentify current state baseline to enable progress monitoring and calculation of return-on-investmen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17488A1-A8BA-2119-791B-4361763BED45}"/>
                </a:ext>
              </a:extLst>
            </p:cNvPr>
            <p:cNvSpPr>
              <a:spLocks/>
            </p:cNvSpPr>
            <p:nvPr/>
          </p:nvSpPr>
          <p:spPr>
            <a:xfrm>
              <a:off x="1422352" y="6586870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4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7F59D6F-B983-D2EB-85AC-8A07102BE3BD}"/>
              </a:ext>
            </a:extLst>
          </p:cNvPr>
          <p:cNvGrpSpPr>
            <a:grpSpLocks/>
          </p:cNvGrpSpPr>
          <p:nvPr/>
        </p:nvGrpSpPr>
        <p:grpSpPr>
          <a:xfrm>
            <a:off x="1422352" y="9078368"/>
            <a:ext cx="27101029" cy="822960"/>
            <a:chOff x="1422352" y="6586870"/>
            <a:chExt cx="23598169" cy="82296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7DDA762-03AA-9476-141D-670F90D625A3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6644407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tablish senior leadership champions to enable the development, and scaling up, of improvement initiativ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6E83058-F6E1-2C3F-E469-67EC57B7CB8C}"/>
                </a:ext>
              </a:extLst>
            </p:cNvPr>
            <p:cNvSpPr>
              <a:spLocks/>
            </p:cNvSpPr>
            <p:nvPr/>
          </p:nvSpPr>
          <p:spPr>
            <a:xfrm>
              <a:off x="1422352" y="6586870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5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B2FE069-71EC-1299-6467-2CF09080CC6E}"/>
              </a:ext>
            </a:extLst>
          </p:cNvPr>
          <p:cNvGrpSpPr>
            <a:grpSpLocks/>
          </p:cNvGrpSpPr>
          <p:nvPr/>
        </p:nvGrpSpPr>
        <p:grpSpPr>
          <a:xfrm>
            <a:off x="1422352" y="10531082"/>
            <a:ext cx="27101029" cy="822960"/>
            <a:chOff x="1422352" y="6586870"/>
            <a:chExt cx="23598169" cy="82296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FFEEF04-913B-79CE-C9DD-F2BAA53EC841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6644407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Act fast when recommendations are mad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690D550-9850-4E7F-C441-B786FD9CEA28}"/>
                </a:ext>
              </a:extLst>
            </p:cNvPr>
            <p:cNvSpPr>
              <a:spLocks/>
            </p:cNvSpPr>
            <p:nvPr/>
          </p:nvSpPr>
          <p:spPr>
            <a:xfrm>
              <a:off x="1422352" y="6586870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solidFill>
                    <a:srgbClr val="022DB7"/>
                  </a:solidFill>
                </a:rPr>
                <a:t>6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DBAAAEE-7AB3-3872-2936-007E52175051}"/>
              </a:ext>
            </a:extLst>
          </p:cNvPr>
          <p:cNvGrpSpPr>
            <a:grpSpLocks/>
          </p:cNvGrpSpPr>
          <p:nvPr/>
        </p:nvGrpSpPr>
        <p:grpSpPr>
          <a:xfrm>
            <a:off x="1422352" y="11983796"/>
            <a:ext cx="27101029" cy="822960"/>
            <a:chOff x="1422352" y="6586870"/>
            <a:chExt cx="23598169" cy="82296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B99CA81-4589-8C37-58A3-27E8B52A1614}"/>
                </a:ext>
              </a:extLst>
            </p:cNvPr>
            <p:cNvSpPr txBox="1">
              <a:spLocks/>
            </p:cNvSpPr>
            <p:nvPr/>
          </p:nvSpPr>
          <p:spPr>
            <a:xfrm>
              <a:off x="2385012" y="6644407"/>
              <a:ext cx="22635509" cy="707886"/>
            </a:xfrm>
            <a:prstGeom prst="rect">
              <a:avLst/>
            </a:prstGeom>
            <a:solidFill>
              <a:srgbClr val="022DB7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en-US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ind the intrinsic value for every human being involved! 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B329ADD-2C86-DBA7-3F69-386D5BCA7214}"/>
                </a:ext>
              </a:extLst>
            </p:cNvPr>
            <p:cNvSpPr>
              <a:spLocks/>
            </p:cNvSpPr>
            <p:nvPr/>
          </p:nvSpPr>
          <p:spPr>
            <a:xfrm>
              <a:off x="1422352" y="6586870"/>
              <a:ext cx="822960" cy="822960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>
                  <a:solidFill>
                    <a:srgbClr val="022DB7"/>
                  </a:solidFill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7343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22C428-2539-CF05-AC1E-E03DE4824E16}"/>
              </a:ext>
            </a:extLst>
          </p:cNvPr>
          <p:cNvGrpSpPr/>
          <p:nvPr/>
        </p:nvGrpSpPr>
        <p:grpSpPr>
          <a:xfrm>
            <a:off x="25243390" y="1570606"/>
            <a:ext cx="3444540" cy="3772439"/>
            <a:chOff x="12210519" y="3928289"/>
            <a:chExt cx="6228545" cy="6821468"/>
          </a:xfrm>
        </p:grpSpPr>
        <p:sp>
          <p:nvSpPr>
            <p:cNvPr id="3" name="Parallelogram 2">
              <a:extLst>
                <a:ext uri="{FF2B5EF4-FFF2-40B4-BE49-F238E27FC236}">
                  <a16:creationId xmlns:a16="http://schemas.microsoft.com/office/drawing/2014/main" id="{718D801E-68A2-039F-37B4-3E3A124CBF3A}"/>
                </a:ext>
              </a:extLst>
            </p:cNvPr>
            <p:cNvSpPr/>
            <p:nvPr/>
          </p:nvSpPr>
          <p:spPr bwMode="auto">
            <a:xfrm rot="3601125">
              <a:off x="13309763" y="5709520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869EC9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" name="Parallelogram 3">
              <a:extLst>
                <a:ext uri="{FF2B5EF4-FFF2-40B4-BE49-F238E27FC236}">
                  <a16:creationId xmlns:a16="http://schemas.microsoft.com/office/drawing/2014/main" id="{D0A3DCE8-B66D-2A2F-7B70-F2003137555B}"/>
                </a:ext>
              </a:extLst>
            </p:cNvPr>
            <p:cNvSpPr/>
            <p:nvPr/>
          </p:nvSpPr>
          <p:spPr bwMode="auto">
            <a:xfrm rot="7201125">
              <a:off x="10469474" y="6739965"/>
              <a:ext cx="5640563" cy="2078102"/>
            </a:xfrm>
            <a:prstGeom prst="parallelogram">
              <a:avLst>
                <a:gd name="adj" fmla="val 57659"/>
              </a:avLst>
            </a:prstGeom>
            <a:solidFill>
              <a:srgbClr val="97ABD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BA8D0CDD-0EE3-193C-9907-881FEF5E22A2}"/>
                </a:ext>
              </a:extLst>
            </p:cNvPr>
            <p:cNvSpPr/>
            <p:nvPr/>
          </p:nvSpPr>
          <p:spPr bwMode="auto">
            <a:xfrm rot="10801125">
              <a:off x="12798501" y="8671655"/>
              <a:ext cx="5640563" cy="2078102"/>
            </a:xfrm>
            <a:prstGeom prst="parallelogram">
              <a:avLst>
                <a:gd name="adj" fmla="val 57500"/>
              </a:avLst>
            </a:prstGeom>
            <a:solidFill>
              <a:srgbClr val="A4B6D6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7750" tIns="58500" rIns="87750" bIns="58500" rtlCol="0" anchor="ctr">
              <a:noAutofit/>
            </a:bodyPr>
            <a:lstStyle/>
            <a:p>
              <a:pPr marL="331211" indent="-331211" algn="ctr" defTabSz="709241" eaLnBrk="0" fontAlgn="base" hangingPunct="0">
                <a:spcBef>
                  <a:spcPts val="589"/>
                </a:spcBef>
                <a:spcAft>
                  <a:spcPct val="0"/>
                </a:spcAft>
                <a:buClr>
                  <a:srgbClr val="000000"/>
                </a:buClr>
                <a:buFont typeface="Arial" pitchFamily="34" charset="0"/>
                <a:buChar char="—"/>
                <a:tabLst>
                  <a:tab pos="925402" algn="l"/>
                </a:tabLst>
                <a:defRPr/>
              </a:pPr>
              <a:endParaRPr lang="en-US" sz="1400" kern="0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6" name="Graphic 5" descr="Users">
              <a:extLst>
                <a:ext uri="{FF2B5EF4-FFF2-40B4-BE49-F238E27FC236}">
                  <a16:creationId xmlns:a16="http://schemas.microsoft.com/office/drawing/2014/main" id="{97251D76-E777-1F34-222F-65088F9F7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469598" y="7533874"/>
              <a:ext cx="1110250" cy="1110250"/>
            </a:xfrm>
            <a:prstGeom prst="rect">
              <a:avLst/>
            </a:prstGeom>
          </p:spPr>
        </p:pic>
        <p:pic>
          <p:nvPicPr>
            <p:cNvPr id="7" name="Graphic 6" descr="Circles with arrows with solid fill">
              <a:extLst>
                <a:ext uri="{FF2B5EF4-FFF2-40B4-BE49-F238E27FC236}">
                  <a16:creationId xmlns:a16="http://schemas.microsoft.com/office/drawing/2014/main" id="{3420E041-C769-17F1-5735-3D74607B8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5283070" y="5910604"/>
              <a:ext cx="1782131" cy="1782131"/>
            </a:xfrm>
            <a:prstGeom prst="rect">
              <a:avLst/>
            </a:prstGeom>
          </p:spPr>
        </p:pic>
        <p:pic>
          <p:nvPicPr>
            <p:cNvPr id="8" name="Graphic 7" descr="Bar chart with solid fill">
              <a:extLst>
                <a:ext uri="{FF2B5EF4-FFF2-40B4-BE49-F238E27FC236}">
                  <a16:creationId xmlns:a16="http://schemas.microsoft.com/office/drawing/2014/main" id="{B88304B8-53BD-9285-9AA1-5EFA6FB69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4756361" y="8800415"/>
              <a:ext cx="1782130" cy="1782130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CF927A3-64B0-6A76-FBD3-AD6880E32C99}"/>
                </a:ext>
              </a:extLst>
            </p:cNvPr>
            <p:cNvGrpSpPr/>
            <p:nvPr/>
          </p:nvGrpSpPr>
          <p:grpSpPr>
            <a:xfrm>
              <a:off x="12210519" y="6604992"/>
              <a:ext cx="2366980" cy="2366980"/>
              <a:chOff x="23762103" y="4450524"/>
              <a:chExt cx="4941589" cy="4941589"/>
            </a:xfrm>
          </p:grpSpPr>
          <p:pic>
            <p:nvPicPr>
              <p:cNvPr id="10" name="Graphic 9" descr="Connections with solid fill">
                <a:extLst>
                  <a:ext uri="{FF2B5EF4-FFF2-40B4-BE49-F238E27FC236}">
                    <a16:creationId xmlns:a16="http://schemas.microsoft.com/office/drawing/2014/main" id="{40438763-A081-4D62-EF89-9BC14212B4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21019780">
                <a:off x="23762103" y="4450524"/>
                <a:ext cx="4941589" cy="4941589"/>
              </a:xfrm>
              <a:prstGeom prst="rect">
                <a:avLst/>
              </a:prstGeom>
            </p:spPr>
          </p:pic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9A523D99-9EF4-550C-1909-B2F26A82AFD9}"/>
                  </a:ext>
                </a:extLst>
              </p:cNvPr>
              <p:cNvSpPr/>
              <p:nvPr/>
            </p:nvSpPr>
            <p:spPr>
              <a:xfrm rot="21019780">
                <a:off x="25844090" y="6835439"/>
                <a:ext cx="1404070" cy="14040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4434F9FF-A790-78B4-7F1A-03217135F27A}"/>
                  </a:ext>
                </a:extLst>
              </p:cNvPr>
              <p:cNvSpPr/>
              <p:nvPr/>
            </p:nvSpPr>
            <p:spPr>
              <a:xfrm rot="21019780">
                <a:off x="25336942" y="5003636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B1D6B1-B433-9193-5CE8-87A9833ED5F7}"/>
                  </a:ext>
                </a:extLst>
              </p:cNvPr>
              <p:cNvSpPr/>
              <p:nvPr/>
            </p:nvSpPr>
            <p:spPr>
              <a:xfrm rot="21019780">
                <a:off x="24076520" y="6317639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1989CDF-1D2D-D7E1-6375-9A5CB9093D58}"/>
                  </a:ext>
                </a:extLst>
              </p:cNvPr>
              <p:cNvSpPr/>
              <p:nvPr/>
            </p:nvSpPr>
            <p:spPr>
              <a:xfrm rot="21019780">
                <a:off x="26654940" y="4710258"/>
                <a:ext cx="1237219" cy="123721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D5D39CEB-26DB-5924-0029-ED934674751C}"/>
                  </a:ext>
                </a:extLst>
              </p:cNvPr>
              <p:cNvSpPr/>
              <p:nvPr/>
            </p:nvSpPr>
            <p:spPr>
              <a:xfrm rot="21019780">
                <a:off x="24835812" y="8229507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C91AFE1-7F21-24FF-9CDD-4FE9DB11BD5F}"/>
                  </a:ext>
                </a:extLst>
              </p:cNvPr>
              <p:cNvSpPr/>
              <p:nvPr/>
            </p:nvSpPr>
            <p:spPr>
              <a:xfrm rot="21019780">
                <a:off x="27555901" y="6134002"/>
                <a:ext cx="854516" cy="8545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7" name="Graphic 16" descr="Ui Ux with solid fill">
                <a:extLst>
                  <a:ext uri="{FF2B5EF4-FFF2-40B4-BE49-F238E27FC236}">
                    <a16:creationId xmlns:a16="http://schemas.microsoft.com/office/drawing/2014/main" id="{33D4A0ED-33DC-5B0F-BF08-766F5450F0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6749057" y="4882728"/>
                <a:ext cx="1054214" cy="1054214"/>
              </a:xfrm>
              <a:prstGeom prst="rect">
                <a:avLst/>
              </a:prstGeom>
            </p:spPr>
          </p:pic>
          <p:pic>
            <p:nvPicPr>
              <p:cNvPr id="18" name="Graphic 17" descr="User with solid fill">
                <a:extLst>
                  <a:ext uri="{FF2B5EF4-FFF2-40B4-BE49-F238E27FC236}">
                    <a16:creationId xmlns:a16="http://schemas.microsoft.com/office/drawing/2014/main" id="{ACA354FA-ECCE-214E-100A-CAAB4926C1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7629287" y="6173067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19" name="Graphic 18" descr="Wi-Fi with solid fill">
                <a:extLst>
                  <a:ext uri="{FF2B5EF4-FFF2-40B4-BE49-F238E27FC236}">
                    <a16:creationId xmlns:a16="http://schemas.microsoft.com/office/drawing/2014/main" id="{4070C627-CC70-9F12-91DB-87134F7D09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 rot="18864479">
                <a:off x="24086226" y="6346908"/>
                <a:ext cx="1211109" cy="1211109"/>
              </a:xfrm>
              <a:prstGeom prst="rect">
                <a:avLst/>
              </a:prstGeom>
            </p:spPr>
          </p:pic>
          <p:pic>
            <p:nvPicPr>
              <p:cNvPr id="20" name="Graphic 19" descr="User with solid fill">
                <a:extLst>
                  <a:ext uri="{FF2B5EF4-FFF2-40B4-BE49-F238E27FC236}">
                    <a16:creationId xmlns:a16="http://schemas.microsoft.com/office/drawing/2014/main" id="{5C2417AF-239C-A000-7941-17307BB0D1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4887420" y="8267818"/>
                <a:ext cx="734543" cy="734543"/>
              </a:xfrm>
              <a:prstGeom prst="rect">
                <a:avLst/>
              </a:prstGeom>
            </p:spPr>
          </p:pic>
          <p:pic>
            <p:nvPicPr>
              <p:cNvPr id="21" name="Graphic 20" descr="User with solid fill">
                <a:extLst>
                  <a:ext uri="{FF2B5EF4-FFF2-40B4-BE49-F238E27FC236}">
                    <a16:creationId xmlns:a16="http://schemas.microsoft.com/office/drawing/2014/main" id="{FC2BC454-BB57-EB4C-B137-A13181AE73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869464" y="6777160"/>
                <a:ext cx="1344158" cy="1344158"/>
              </a:xfrm>
              <a:prstGeom prst="rect">
                <a:avLst/>
              </a:prstGeom>
            </p:spPr>
          </p:pic>
          <p:pic>
            <p:nvPicPr>
              <p:cNvPr id="22" name="Graphic 21" descr="User with solid fill">
                <a:extLst>
                  <a:ext uri="{FF2B5EF4-FFF2-40B4-BE49-F238E27FC236}">
                    <a16:creationId xmlns:a16="http://schemas.microsoft.com/office/drawing/2014/main" id="{5058CECC-4BBE-5CF0-1DB1-5012B46FE8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5395749" y="5031286"/>
                <a:ext cx="734543" cy="734543"/>
              </a:xfrm>
              <a:prstGeom prst="rect">
                <a:avLst/>
              </a:prstGeom>
            </p:spPr>
          </p:pic>
        </p:grp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EF05C8CA-7E30-B76F-5E31-0481C2D76E3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7780959" y="12031490"/>
            <a:ext cx="5424481" cy="127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48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4A36F-A654-4A3D-9D98-06B8AE028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1000">
                <a:latin typeface="+mj-lt"/>
              </a:rPr>
              <a:t>01. Establishing the Digital Transformation Program</a:t>
            </a:r>
          </a:p>
          <a:p>
            <a:endParaRPr lang="en-US" sz="110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64145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558CEA3-691C-DAC1-1FDF-35BD168EBDFD}"/>
              </a:ext>
            </a:extLst>
          </p:cNvPr>
          <p:cNvCxnSpPr>
            <a:cxnSpLocks/>
            <a:stCxn id="30" idx="6"/>
            <a:endCxn id="37" idx="1"/>
          </p:cNvCxnSpPr>
          <p:nvPr/>
        </p:nvCxnSpPr>
        <p:spPr>
          <a:xfrm>
            <a:off x="3811334" y="5059282"/>
            <a:ext cx="23507358" cy="8338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0903319" cy="1447442"/>
          </a:xfrm>
        </p:spPr>
        <p:txBody>
          <a:bodyPr/>
          <a:lstStyle/>
          <a:p>
            <a:r>
              <a:rPr lang="en-US"/>
              <a:t>Engineering Department Organization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0027339-AD5C-5034-9CA3-6FFE3FAF4AD4}"/>
              </a:ext>
            </a:extLst>
          </p:cNvPr>
          <p:cNvCxnSpPr>
            <a:cxnSpLocks/>
            <a:endCxn id="6" idx="2"/>
          </p:cNvCxnSpPr>
          <p:nvPr/>
        </p:nvCxnSpPr>
        <p:spPr>
          <a:xfrm flipH="1" flipV="1">
            <a:off x="15544799" y="3887238"/>
            <a:ext cx="1" cy="1172044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28B8E72B-F941-3907-7448-BA21B7E71B29}"/>
              </a:ext>
            </a:extLst>
          </p:cNvPr>
          <p:cNvSpPr>
            <a:spLocks noChangeAspect="1"/>
          </p:cNvSpPr>
          <p:nvPr/>
        </p:nvSpPr>
        <p:spPr>
          <a:xfrm>
            <a:off x="12428415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57D14D-9AF0-876F-3EF0-B4E412D6E2D7}"/>
              </a:ext>
            </a:extLst>
          </p:cNvPr>
          <p:cNvSpPr/>
          <p:nvPr/>
        </p:nvSpPr>
        <p:spPr>
          <a:xfrm>
            <a:off x="10782496" y="7421463"/>
            <a:ext cx="4572000" cy="609134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esident Engineer Offic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entral Surve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lean Construc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aterials Engineer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4B9C3C-1AA5-BBAB-5DAB-9F0B29F9AD78}"/>
              </a:ext>
            </a:extLst>
          </p:cNvPr>
          <p:cNvSpPr/>
          <p:nvPr/>
        </p:nvSpPr>
        <p:spPr>
          <a:xfrm>
            <a:off x="10782496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Construction Management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2664A8C-8C98-A009-F8CD-A2DDAB26E6FD}"/>
              </a:ext>
            </a:extLst>
          </p:cNvPr>
          <p:cNvCxnSpPr>
            <a:cxnSpLocks/>
            <a:stCxn id="10" idx="0"/>
            <a:endCxn id="26" idx="4"/>
          </p:cNvCxnSpPr>
          <p:nvPr/>
        </p:nvCxnSpPr>
        <p:spPr>
          <a:xfrm flipH="1" flipV="1">
            <a:off x="13068495" y="5699362"/>
            <a:ext cx="1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" name="Graphic 3" descr="Construction worker female with solid fill">
            <a:extLst>
              <a:ext uri="{FF2B5EF4-FFF2-40B4-BE49-F238E27FC236}">
                <a16:creationId xmlns:a16="http://schemas.microsoft.com/office/drawing/2014/main" id="{C25FD447-D433-6104-859F-E388A24782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611295" y="4578180"/>
            <a:ext cx="914400" cy="914400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17421BF9-E13B-6CAB-682C-9994C62A88D2}"/>
              </a:ext>
            </a:extLst>
          </p:cNvPr>
          <p:cNvSpPr>
            <a:spLocks noChangeAspect="1"/>
          </p:cNvSpPr>
          <p:nvPr/>
        </p:nvSpPr>
        <p:spPr>
          <a:xfrm>
            <a:off x="2531174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2A070A7-7D1F-2954-33CC-6E34EDC9149C}"/>
              </a:ext>
            </a:extLst>
          </p:cNvPr>
          <p:cNvSpPr/>
          <p:nvPr/>
        </p:nvSpPr>
        <p:spPr>
          <a:xfrm>
            <a:off x="885253" y="7421466"/>
            <a:ext cx="4572000" cy="609133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ngineering Program Executiv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lternate Project Deliver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760C86-883E-CF5C-D09B-DB5043E52CA1}"/>
              </a:ext>
            </a:extLst>
          </p:cNvPr>
          <p:cNvSpPr/>
          <p:nvPr/>
        </p:nvSpPr>
        <p:spPr>
          <a:xfrm>
            <a:off x="885253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Project Management </a:t>
            </a:r>
            <a:br>
              <a:rPr lang="en-US" sz="2800" b="1"/>
            </a:br>
            <a:r>
              <a:rPr lang="en-US" sz="2800" b="1"/>
              <a:t>and Delivery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6654A35-5641-EECD-7BE9-0851EF8AE7AF}"/>
              </a:ext>
            </a:extLst>
          </p:cNvPr>
          <p:cNvCxnSpPr>
            <a:cxnSpLocks/>
            <a:stCxn id="16" idx="0"/>
            <a:endCxn id="30" idx="4"/>
          </p:cNvCxnSpPr>
          <p:nvPr/>
        </p:nvCxnSpPr>
        <p:spPr>
          <a:xfrm flipV="1">
            <a:off x="3171253" y="5699362"/>
            <a:ext cx="1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8" name="Graphic 7" descr="Meeting with solid fill">
            <a:extLst>
              <a:ext uri="{FF2B5EF4-FFF2-40B4-BE49-F238E27FC236}">
                <a16:creationId xmlns:a16="http://schemas.microsoft.com/office/drawing/2014/main" id="{C9144EAD-F4BA-2D7C-43F8-7D173FD88A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16704" y="4602082"/>
            <a:ext cx="914400" cy="9144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05B6D080-82F3-F016-468F-1EB40B2E3D05}"/>
              </a:ext>
            </a:extLst>
          </p:cNvPr>
          <p:cNvSpPr>
            <a:spLocks noChangeAspect="1"/>
          </p:cNvSpPr>
          <p:nvPr/>
        </p:nvSpPr>
        <p:spPr>
          <a:xfrm>
            <a:off x="7481113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C65EB2-01A7-DC8D-C76B-E2EB05D97DA0}"/>
              </a:ext>
            </a:extLst>
          </p:cNvPr>
          <p:cNvSpPr/>
          <p:nvPr/>
        </p:nvSpPr>
        <p:spPr>
          <a:xfrm>
            <a:off x="5835195" y="7421463"/>
            <a:ext cx="4572000" cy="60913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rchitectur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ivi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ontract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lectric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nvironment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Geotechnic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echanic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esiliency/Sustainability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tructural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37F976-1091-C060-D0BF-1DC0B81CF2BB}"/>
              </a:ext>
            </a:extLst>
          </p:cNvPr>
          <p:cNvSpPr/>
          <p:nvPr/>
        </p:nvSpPr>
        <p:spPr>
          <a:xfrm>
            <a:off x="5835195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Engineering and Architectural Design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A7E42FD-9C9C-5871-4CE8-753F3AC7E529}"/>
              </a:ext>
            </a:extLst>
          </p:cNvPr>
          <p:cNvCxnSpPr>
            <a:cxnSpLocks/>
            <a:stCxn id="9" idx="0"/>
            <a:endCxn id="14" idx="4"/>
          </p:cNvCxnSpPr>
          <p:nvPr/>
        </p:nvCxnSpPr>
        <p:spPr>
          <a:xfrm flipH="1" flipV="1">
            <a:off x="8121193" y="5699362"/>
            <a:ext cx="2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4" name="Graphic 33" descr="Computer with solid fill">
            <a:extLst>
              <a:ext uri="{FF2B5EF4-FFF2-40B4-BE49-F238E27FC236}">
                <a16:creationId xmlns:a16="http://schemas.microsoft.com/office/drawing/2014/main" id="{C80E9AAD-E8C8-8087-E251-1093E42A5D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78489" y="4650843"/>
            <a:ext cx="914400" cy="914400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C47B06EA-8A3A-7F0C-C26F-A6B047468E78}"/>
              </a:ext>
            </a:extLst>
          </p:cNvPr>
          <p:cNvSpPr>
            <a:spLocks noChangeAspect="1"/>
          </p:cNvSpPr>
          <p:nvPr/>
        </p:nvSpPr>
        <p:spPr>
          <a:xfrm>
            <a:off x="17378369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5F0DAC0-5B4E-E215-3293-1323F2080C4D}"/>
              </a:ext>
            </a:extLst>
          </p:cNvPr>
          <p:cNvSpPr/>
          <p:nvPr/>
        </p:nvSpPr>
        <p:spPr>
          <a:xfrm>
            <a:off x="15732447" y="7421464"/>
            <a:ext cx="4572000" cy="609133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onstruction Standard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Design Standard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tructural Integr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1A8444-E50C-3AB5-A948-424E869BA67D}"/>
              </a:ext>
            </a:extLst>
          </p:cNvPr>
          <p:cNvSpPr/>
          <p:nvPr/>
        </p:nvSpPr>
        <p:spPr>
          <a:xfrm>
            <a:off x="15732447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Quality</a:t>
            </a:r>
          </a:p>
          <a:p>
            <a:pPr algn="ctr"/>
            <a:r>
              <a:rPr lang="en-US" sz="2800" b="1"/>
              <a:t>Assurance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E9A35F08-A4C4-DA4F-609F-328FD9CF8440}"/>
              </a:ext>
            </a:extLst>
          </p:cNvPr>
          <p:cNvCxnSpPr>
            <a:cxnSpLocks/>
          </p:cNvCxnSpPr>
          <p:nvPr/>
        </p:nvCxnSpPr>
        <p:spPr>
          <a:xfrm flipV="1">
            <a:off x="18018447" y="5699362"/>
            <a:ext cx="1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2" name="Graphic 11" descr="Bridge scene with solid fill">
            <a:extLst>
              <a:ext uri="{FF2B5EF4-FFF2-40B4-BE49-F238E27FC236}">
                <a16:creationId xmlns:a16="http://schemas.microsoft.com/office/drawing/2014/main" id="{995E67FE-F91B-9463-1510-92AB32012C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474116" y="4559557"/>
            <a:ext cx="822960" cy="822960"/>
          </a:xfrm>
          <a:prstGeom prst="rect">
            <a:avLst/>
          </a:prstGeom>
        </p:spPr>
      </p:pic>
      <p:pic>
        <p:nvPicPr>
          <p:cNvPr id="53" name="Graphic 52" descr="Magnifying glass with solid fill">
            <a:extLst>
              <a:ext uri="{FF2B5EF4-FFF2-40B4-BE49-F238E27FC236}">
                <a16:creationId xmlns:a16="http://schemas.microsoft.com/office/drawing/2014/main" id="{749F6B52-E49F-0F6B-C68F-89A2959203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741644" y="4582447"/>
            <a:ext cx="822959" cy="8229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030DAB1A-4684-C015-73FD-881E04DEDDA6}"/>
              </a:ext>
            </a:extLst>
          </p:cNvPr>
          <p:cNvSpPr>
            <a:spLocks noChangeAspect="1"/>
          </p:cNvSpPr>
          <p:nvPr/>
        </p:nvSpPr>
        <p:spPr>
          <a:xfrm>
            <a:off x="27272973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07403B-8819-4710-C6BF-EC1BB8468958}"/>
              </a:ext>
            </a:extLst>
          </p:cNvPr>
          <p:cNvSpPr/>
          <p:nvPr/>
        </p:nvSpPr>
        <p:spPr>
          <a:xfrm>
            <a:off x="25627052" y="7421463"/>
            <a:ext cx="4572000" cy="609133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Digital Transform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Financial Servic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ngineering Solution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stimating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Project Control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Virtual Design &amp; Constru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E96F41-F01E-C97D-DFC3-5A6B7E2E4765}"/>
              </a:ext>
            </a:extLst>
          </p:cNvPr>
          <p:cNvSpPr/>
          <p:nvPr/>
        </p:nvSpPr>
        <p:spPr>
          <a:xfrm>
            <a:off x="25627053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Business</a:t>
            </a:r>
          </a:p>
          <a:p>
            <a:pPr algn="ctr"/>
            <a:r>
              <a:rPr lang="en-US" sz="2800" b="1"/>
              <a:t>Operations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12AB55D-2C6D-CB4B-1380-366F5614C762}"/>
              </a:ext>
            </a:extLst>
          </p:cNvPr>
          <p:cNvCxnSpPr>
            <a:cxnSpLocks/>
            <a:stCxn id="15" idx="0"/>
            <a:endCxn id="29" idx="4"/>
          </p:cNvCxnSpPr>
          <p:nvPr/>
        </p:nvCxnSpPr>
        <p:spPr>
          <a:xfrm flipV="1">
            <a:off x="27913053" y="5699362"/>
            <a:ext cx="0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7" name="Graphic 36" descr="Gears with solid fill">
            <a:extLst>
              <a:ext uri="{FF2B5EF4-FFF2-40B4-BE49-F238E27FC236}">
                <a16:creationId xmlns:a16="http://schemas.microsoft.com/office/drawing/2014/main" id="{195592B0-35E4-7B3E-CB0D-EC35F3C1C90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318692" y="4473260"/>
            <a:ext cx="1188720" cy="1188720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B18926A5-B4B0-E56D-83A4-08EF217D6D93}"/>
              </a:ext>
            </a:extLst>
          </p:cNvPr>
          <p:cNvSpPr>
            <a:spLocks noChangeAspect="1"/>
          </p:cNvSpPr>
          <p:nvPr/>
        </p:nvSpPr>
        <p:spPr>
          <a:xfrm>
            <a:off x="22325671" y="4419202"/>
            <a:ext cx="1280160" cy="128016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innerShdw blurRad="114300">
              <a:prstClr val="black"/>
            </a:inn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F5D270-7406-F676-55F5-AB9EEB588E9C}"/>
              </a:ext>
            </a:extLst>
          </p:cNvPr>
          <p:cNvSpPr/>
          <p:nvPr/>
        </p:nvSpPr>
        <p:spPr>
          <a:xfrm>
            <a:off x="20679749" y="7421464"/>
            <a:ext cx="4572000" cy="609133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tIns="0" rtlCol="0" anchor="t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sset Management Implementatio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sset Management Policy, Governance and Develop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CBA869A-3D1C-6486-E17E-073ADD037228}"/>
              </a:ext>
            </a:extLst>
          </p:cNvPr>
          <p:cNvSpPr/>
          <p:nvPr/>
        </p:nvSpPr>
        <p:spPr>
          <a:xfrm>
            <a:off x="20679749" y="6029395"/>
            <a:ext cx="4572000" cy="930250"/>
          </a:xfrm>
          <a:prstGeom prst="rect">
            <a:avLst/>
          </a:prstGeom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Enterprise Asset Management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E7DEF0F0-6ACB-62F4-CC3B-AEE97D14452D}"/>
              </a:ext>
            </a:extLst>
          </p:cNvPr>
          <p:cNvCxnSpPr>
            <a:cxnSpLocks/>
          </p:cNvCxnSpPr>
          <p:nvPr/>
        </p:nvCxnSpPr>
        <p:spPr>
          <a:xfrm flipV="1">
            <a:off x="22965748" y="5699362"/>
            <a:ext cx="1" cy="330033"/>
          </a:xfrm>
          <a:prstGeom prst="line">
            <a:avLst/>
          </a:prstGeom>
          <a:ln w="571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46" name="Graphic 45" descr="Clipboard with solid fill">
            <a:extLst>
              <a:ext uri="{FF2B5EF4-FFF2-40B4-BE49-F238E27FC236}">
                <a16:creationId xmlns:a16="http://schemas.microsoft.com/office/drawing/2014/main" id="{741DE2BF-8081-B082-CFFD-EF324B6FDCA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519317" y="4610420"/>
            <a:ext cx="914400" cy="91440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1EB3823-437F-815F-F346-1B471CCE30E0}"/>
              </a:ext>
            </a:extLst>
          </p:cNvPr>
          <p:cNvSpPr/>
          <p:nvPr/>
        </p:nvSpPr>
        <p:spPr>
          <a:xfrm>
            <a:off x="12801599" y="2092059"/>
            <a:ext cx="5486400" cy="179517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US" sz="3600" b="1"/>
              <a:t>Office of the</a:t>
            </a:r>
            <a:br>
              <a:rPr lang="en-US" sz="3600" b="1"/>
            </a:br>
            <a:r>
              <a:rPr lang="en-US" sz="3600" b="1"/>
              <a:t>Chief Engineer</a:t>
            </a:r>
          </a:p>
        </p:txBody>
      </p:sp>
    </p:spTree>
    <p:extLst>
      <p:ext uri="{BB962C8B-B14F-4D97-AF65-F5344CB8AC3E}">
        <p14:creationId xmlns:p14="http://schemas.microsoft.com/office/powerpoint/2010/main" val="3395394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1810181" cy="1447442"/>
          </a:xfrm>
        </p:spPr>
        <p:txBody>
          <a:bodyPr/>
          <a:lstStyle/>
          <a:p>
            <a:r>
              <a:rPr lang="en-US"/>
              <a:t>Engineering Department Organiz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5D10F2-3475-48D5-4670-AA5C66345535}"/>
              </a:ext>
            </a:extLst>
          </p:cNvPr>
          <p:cNvSpPr txBox="1"/>
          <p:nvPr/>
        </p:nvSpPr>
        <p:spPr>
          <a:xfrm>
            <a:off x="11064253" y="10908427"/>
            <a:ext cx="4315044" cy="134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70" b="1">
                <a:solidFill>
                  <a:srgbClr val="008768"/>
                </a:solidFill>
                <a:cs typeface="Segoe UI" panose="020B0502040204020203" pitchFamily="34" charset="0"/>
              </a:rPr>
              <a:t>42</a:t>
            </a:r>
          </a:p>
          <a:p>
            <a:pPr algn="ctr"/>
            <a:r>
              <a:rPr lang="en-US" sz="4070" b="1">
                <a:solidFill>
                  <a:srgbClr val="008768"/>
                </a:solidFill>
                <a:cs typeface="Segoe UI" panose="020B0502040204020203" pitchFamily="34" charset="0"/>
              </a:rPr>
              <a:t>Unit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DAE8BCA-5B8C-509E-3132-99125BDDE7A3}"/>
              </a:ext>
            </a:extLst>
          </p:cNvPr>
          <p:cNvSpPr/>
          <p:nvPr/>
        </p:nvSpPr>
        <p:spPr>
          <a:xfrm>
            <a:off x="4346670" y="5571049"/>
            <a:ext cx="3444843" cy="344484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74"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E2EC46-9C85-184C-4750-F9ADC26458E3}"/>
              </a:ext>
            </a:extLst>
          </p:cNvPr>
          <p:cNvSpPr txBox="1"/>
          <p:nvPr/>
        </p:nvSpPr>
        <p:spPr>
          <a:xfrm>
            <a:off x="2172104" y="8594584"/>
            <a:ext cx="4315044" cy="1971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70" b="1">
                <a:solidFill>
                  <a:srgbClr val="00B0F0"/>
                </a:solidFill>
                <a:cs typeface="Segoe UI" panose="020B0502040204020203" pitchFamily="34" charset="0"/>
              </a:rPr>
              <a:t>1 </a:t>
            </a:r>
          </a:p>
          <a:p>
            <a:pPr algn="ctr"/>
            <a:r>
              <a:rPr lang="en-US" sz="4070" b="1">
                <a:solidFill>
                  <a:srgbClr val="00B0F0"/>
                </a:solidFill>
                <a:cs typeface="Segoe UI" panose="020B0502040204020203" pitchFamily="34" charset="0"/>
              </a:rPr>
              <a:t>Engineering Depart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7E5180-35D4-5594-918F-5777758073BA}"/>
              </a:ext>
            </a:extLst>
          </p:cNvPr>
          <p:cNvSpPr txBox="1"/>
          <p:nvPr/>
        </p:nvSpPr>
        <p:spPr>
          <a:xfrm>
            <a:off x="6669824" y="9683292"/>
            <a:ext cx="2963675" cy="134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70" b="1">
                <a:solidFill>
                  <a:srgbClr val="FF0000"/>
                </a:solidFill>
                <a:cs typeface="Segoe UI" panose="020B0502040204020203" pitchFamily="34" charset="0"/>
              </a:rPr>
              <a:t>6</a:t>
            </a:r>
          </a:p>
          <a:p>
            <a:pPr algn="ctr"/>
            <a:r>
              <a:rPr lang="en-US" sz="4070" b="1">
                <a:solidFill>
                  <a:srgbClr val="FF0000"/>
                </a:solidFill>
                <a:cs typeface="Segoe UI" panose="020B0502040204020203" pitchFamily="34" charset="0"/>
              </a:rPr>
              <a:t>Divis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E13B4A-B266-607F-A81A-89FD086EEC51}"/>
              </a:ext>
            </a:extLst>
          </p:cNvPr>
          <p:cNvSpPr txBox="1"/>
          <p:nvPr/>
        </p:nvSpPr>
        <p:spPr>
          <a:xfrm>
            <a:off x="16953427" y="11284132"/>
            <a:ext cx="4315044" cy="134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70" b="1">
                <a:solidFill>
                  <a:schemeClr val="accent4">
                    <a:lumMod val="75000"/>
                  </a:schemeClr>
                </a:solidFill>
                <a:cs typeface="Segoe UI" panose="020B0502040204020203" pitchFamily="34" charset="0"/>
              </a:rPr>
              <a:t>???</a:t>
            </a:r>
          </a:p>
          <a:p>
            <a:pPr algn="ctr"/>
            <a:r>
              <a:rPr lang="en-US" sz="4070" b="1">
                <a:solidFill>
                  <a:schemeClr val="accent4">
                    <a:lumMod val="75000"/>
                  </a:schemeClr>
                </a:solidFill>
                <a:cs typeface="Segoe UI" panose="020B0502040204020203" pitchFamily="34" charset="0"/>
              </a:rPr>
              <a:t>‘Things we do’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0A1A805-A66F-D303-AF32-0E37659BC450}"/>
              </a:ext>
            </a:extLst>
          </p:cNvPr>
          <p:cNvSpPr/>
          <p:nvPr/>
        </p:nvSpPr>
        <p:spPr>
          <a:xfrm>
            <a:off x="11727147" y="3412052"/>
            <a:ext cx="7762832" cy="7762839"/>
          </a:xfrm>
          <a:prstGeom prst="ellipse">
            <a:avLst/>
          </a:prstGeom>
          <a:solidFill>
            <a:srgbClr val="92D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74">
              <a:cs typeface="Segoe UI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3BCEF37-C207-D631-1FC7-CE66883CEED7}"/>
              </a:ext>
            </a:extLst>
          </p:cNvPr>
          <p:cNvSpPr/>
          <p:nvPr/>
        </p:nvSpPr>
        <p:spPr>
          <a:xfrm>
            <a:off x="18202616" y="3001053"/>
            <a:ext cx="8584828" cy="8584834"/>
          </a:xfrm>
          <a:prstGeom prst="ellipse">
            <a:avLst/>
          </a:prstGeom>
          <a:solidFill>
            <a:srgbClr val="FFC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74">
              <a:cs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0C87AB0-1173-73DA-6236-6B468AC9C5BF}"/>
              </a:ext>
            </a:extLst>
          </p:cNvPr>
          <p:cNvSpPr/>
          <p:nvPr/>
        </p:nvSpPr>
        <p:spPr>
          <a:xfrm>
            <a:off x="7221154" y="4615218"/>
            <a:ext cx="5356503" cy="5356508"/>
          </a:xfrm>
          <a:prstGeom prst="ellipse">
            <a:avLst/>
          </a:prstGeom>
          <a:solidFill>
            <a:srgbClr val="FF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74">
              <a:cs typeface="Segoe UI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C2C36D7-BB40-D69A-E29F-F224A676691F}"/>
              </a:ext>
            </a:extLst>
          </p:cNvPr>
          <p:cNvGrpSpPr/>
          <p:nvPr/>
        </p:nvGrpSpPr>
        <p:grpSpPr>
          <a:xfrm>
            <a:off x="7810212" y="5322327"/>
            <a:ext cx="4191661" cy="4005923"/>
            <a:chOff x="3235166" y="2150751"/>
            <a:chExt cx="2187370" cy="2090447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08B9524-AD96-322D-8314-7C0C896B37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30468" y="2152539"/>
              <a:ext cx="629699" cy="629698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38C9F35-AE8B-1F70-3253-383096BFA7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00949" y="2150751"/>
              <a:ext cx="629699" cy="629698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2073C49-63E1-A25D-56DA-EAA955EE78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92837" y="2899419"/>
              <a:ext cx="629699" cy="629698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159F9EF-CC6F-A0BA-7C37-9213960DCD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35166" y="2899418"/>
              <a:ext cx="629699" cy="629698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FC83435-2493-11E5-F83F-CED09D7DC3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513" y="3611500"/>
              <a:ext cx="629699" cy="629698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5689FBE-05BD-BCAD-FDF7-EE51F75F36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89218" y="3583348"/>
              <a:ext cx="629699" cy="629700"/>
            </a:xfrm>
            <a:prstGeom prst="ellipse">
              <a:avLst/>
            </a:prstGeom>
            <a:solidFill>
              <a:srgbClr val="EE273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F367D6D-CE73-691B-7FEC-74B2435D6213}"/>
              </a:ext>
            </a:extLst>
          </p:cNvPr>
          <p:cNvGrpSpPr/>
          <p:nvPr/>
        </p:nvGrpSpPr>
        <p:grpSpPr>
          <a:xfrm>
            <a:off x="12678865" y="3428548"/>
            <a:ext cx="5731870" cy="7918064"/>
            <a:chOff x="5408367" y="1004753"/>
            <a:chExt cx="2991114" cy="413195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9C85DBC9-70DF-97C7-B8E6-7646E92055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7941" y="167391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651EC32-F00E-1083-FDE6-7FC5B256C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13422" y="142862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1C853FB-EA4C-5C4C-B997-C672065BEB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4881" y="171828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41B8DB3-A684-C72F-0CB7-52066F2B62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71411" y="195843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CF77F4B-2FEB-75D9-A54A-AC0050CBA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96009" y="274512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DDCF703-E78C-3D44-4BC9-CDB900C56B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91491" y="249983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2A62A7C-0E32-8ED6-96A4-5B5DCEC4B1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02950" y="278949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EABD039-6BCA-862D-01DB-32ABCBE62A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49480" y="302964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D8D34AA-A704-0892-FD47-F7BCC8A60F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38585" y="3771961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FA5D70A-C90A-071F-E2D7-36097A8D18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34066" y="352667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EADC7BE-AC7C-0BB8-78EF-5A198E9D0C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45525" y="381633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2F580C1-06C9-4E19-70EF-DD2FBE9CF4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92055" y="405648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FAD8F01-156B-0CF6-E992-A6A5BAAE71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84281" y="453733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CE22183-310E-D875-38F5-6185C93CB9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9762" y="429204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C8134D4D-7135-2C93-754F-EEE16EB322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1221" y="458170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CFBE643-C39A-0FCA-2978-83271A68FA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37751" y="482185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AB0C8F6-EBD2-5CB6-F171-EBBFAE39D1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28671" y="337136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9A33C79-BE85-50CA-C092-753A016C12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24152" y="3126085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1DBA8FC3-28A0-D059-42C5-4FAA53AD5D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5612" y="341573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DB91CA0-61DD-762F-1D0D-7CE88D3980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82141" y="3655895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A26B652-366E-C3A0-82AC-9B9BD2E733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90050" y="212625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FF27048-BF56-9615-94DB-C7C458FD4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85531" y="188096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D7E56517-D950-09DA-C2FF-3804527DF3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96991" y="217062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4B1EBF3-BD55-9D8B-7427-3741C5128C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43520" y="241078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856303EE-AAD7-E660-E256-7D202EF1CF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46989" y="230695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48F53CD-22C2-7C0C-B203-20C693E731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50378" y="2938534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1560FA9-AED2-3783-9305-530A750BF5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61838" y="322818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951E965-4318-C437-16E0-2AA7AEC2E0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08367" y="3468345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045F3CF3-E342-88DF-EBCA-A9D15E445B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06071" y="271480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EFDD0FE-1DBE-51B6-0331-C7A10D0222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02527" y="4247677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1E20669-662C-096B-4228-9953167BE5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13986" y="4537330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F7A16E4-A68D-9E4E-C23B-732BD4AD6C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58448" y="2358063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93F45707-A3A9-572E-3366-A534745D34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27208" y="4507008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707D2BE-60D5-54BC-3435-BC4367D87C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02709" y="1121031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372FB7CB-F54E-2FB7-161F-EE1B4E9B2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0682" y="1438156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EE8831-F53F-A63D-856E-5FF1511A66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0380" y="405648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D360E4E-73A8-28A9-57DF-2A14D3DD20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41752" y="1447566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370C2321-4F9D-8199-5607-EB1E62C6F0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53212" y="173721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22553131-567D-CD21-ADAC-1A583F79F2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26903" y="1004753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AE26944-B8FB-3A43-BCB4-90A31C4911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0637" y="3885242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65C8508C-49C4-A4C5-A5B1-42573346F7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73023" y="303388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D43BA04A-7F75-B14F-8492-585F5BE15F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84632" y="2499839"/>
              <a:ext cx="314849" cy="31485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FA87861-566A-C9F2-993D-EE4C9640B3E6}"/>
              </a:ext>
            </a:extLst>
          </p:cNvPr>
          <p:cNvGrpSpPr/>
          <p:nvPr/>
        </p:nvGrpSpPr>
        <p:grpSpPr>
          <a:xfrm>
            <a:off x="19497824" y="2487250"/>
            <a:ext cx="6089054" cy="9269560"/>
            <a:chOff x="8593979" y="887441"/>
            <a:chExt cx="2619804" cy="398821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829A5E74-DDFC-364A-42E7-C6E473E3A1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97112" y="157711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831CA8F-4E33-2C69-C3D5-135FA68A275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08572" y="186677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93C54BB-851E-9396-3BC7-CEE1B59DA43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55101" y="21069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A40362A-D33D-215C-384C-3ACB1F3349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79700" y="289361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279A4CB8-0E93-F584-8A19-587EF9D8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5181" y="26483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5DAE48C-C3A7-4F46-4169-CB8C0F0181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86640" y="293798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838EC4CB-2242-A083-710D-B50B362C69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33170" y="317813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B2F72D7B-0A04-5CBB-FBBD-04E66E9FEC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22275" y="392045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2E1D57D-FDA4-AD3F-9095-D0550BCC9F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17756" y="367516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C6A56EAC-F887-3B52-84AA-E83DC8EC86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29216" y="396482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9966E2D9-FF28-71D5-D660-E64812933B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75745" y="42049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07D67781-1A29-E1BA-B676-21168752DD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7971" y="468582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EA7D3FEB-8C61-04E6-7E59-9E9F689A97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63452" y="444053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E0E074D8-BDF0-A2E3-6B57-5E3BD37C85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74911" y="473019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02C1ACCA-0674-31C9-2DB8-E5C803ECF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30784" y="2851184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65A168E5-87EE-9523-43E8-A670283E50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2361" y="351985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BCFC321-130F-C554-2AC5-8862B1E050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07842" y="3274575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B0498A76-831B-5F79-827D-C9485F03B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19302" y="356422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D378D13F-779A-5AB3-829F-00B1825EA3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65831" y="3804385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7AA79C3B-B4E9-DAB8-622E-382E557DC2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73740" y="227474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3532396D-E769-67F3-50A9-6E7DE287B4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9221" y="202945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9606547B-5EE2-E10A-38C1-5CA3E5EBEC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0681" y="231911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DA8E549-F4FA-9573-67A6-D10926A31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27210" y="255926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61B8FA72-2C1C-9E4A-EC83-655A996213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5528" y="3376677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23E4E9E2-9B66-EA22-DBF2-68AA62FB44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9761" y="286328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BA1FE8B-7541-AA13-8F98-31BA7BAE75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97676" y="4685820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0C7BD5A4-202A-CCFD-AE37-2CADD2C4A3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42138" y="250655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E8D1CD1-6F8D-E50B-16C0-CFA2C131EB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10898" y="4655498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8C22402-8EF3-51AD-2E9D-C570874602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86399" y="1269521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BD7A3EFC-812F-F386-3739-BD8B8BAD85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54372" y="1586646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177C2A1D-9D92-98C6-30DE-A7C25BD494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84070" y="42049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1BBE2FBF-CEE7-5919-9097-2A768789BE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25442" y="1596056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27738644-8323-06B4-1278-53C865F5C3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36902" y="188570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B5F87F1E-72CE-4797-050C-EBBA13DCB5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10593" y="1153243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139B7AE8-A9F5-6984-6ED2-063D2AB5BD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94327" y="4033732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F2F621FF-7E41-A589-ADEF-2465A6B66B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56713" y="318237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913B428B-1B2D-6C74-8939-9A6F097F42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68322" y="2648329"/>
              <a:ext cx="145461" cy="1454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5482DC1A-B15A-0090-6D20-0825210494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98425" y="131131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1758FC2-0206-4FB6-ECF2-4DDBE1E0E0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09884" y="160097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3572F869-EEEA-2146-A6A3-07154D4A97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56414" y="18411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DC2ED1E7-8E2D-3AFC-5082-9FA6E53AD6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81012" y="262781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89424322-D9F5-0B23-304A-736D02BBFB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76493" y="23825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036260E1-B24A-88E3-1360-2C98694DA4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87953" y="267218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116C9AC5-75D8-0A94-B023-54BC6C567B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4482" y="291233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0014E5B3-9B42-4B4D-162D-F545A07AD4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23588" y="365464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9A430466-1A5D-3D69-0786-0403F07A13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9069" y="340936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B4BB4864-E0EC-4F27-04AF-3D976C9F58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0528" y="369901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75C13FB1-CB18-94FF-4ADC-78AB2E10E2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77058" y="39391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75A93F2E-CBF9-06AE-84B0-6826680CA0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9283" y="442001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468AD8BE-8913-C206-FC97-608D3D3121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765" y="417473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2D120E5C-DFED-1FEA-BB72-2DF701DC57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6224" y="446438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056E770F-AF51-4638-1544-55A8192575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22754" y="470454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360250F4-0869-8E82-4D25-5B9A6741D0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13674" y="325405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ACE8742B-27CE-54DE-2235-A7368B8F9C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09155" y="3008773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B0D7240-DA59-F614-7927-1B9500F0AA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20615" y="329842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33B2631A-9041-0717-E313-74F94E4F40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7144" y="3538583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F2D7AD48-7767-55FA-4717-F994ECC12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75053" y="200894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25F3C3CD-A46F-885D-32FE-F7EDCE7A63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70534" y="176365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6D0142C7-FE7A-F6D7-080E-9092DA7B55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81993" y="205331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3854BBF9-D391-F7DE-1D97-7F9C2A0ED4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8523" y="229346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15BD5434-0046-E79B-DB60-5E007D0E65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46841" y="3110875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70E3572A-CC3F-2B3B-AB82-E672C6A7D0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91073" y="259748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7F1C16BF-2BDA-6DED-5A8B-9F0E0002C9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98989" y="4420018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1EA971FD-467E-6AEA-519B-E14554E8FC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3451" y="224075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3327554A-27C4-EC19-7698-191C9A3A15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2210" y="4389696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57A4E7CA-C437-6970-5C30-70FE5AC87A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87712" y="1003719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9809CC16-9748-C143-585C-641FB79CC3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5684" y="1320844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992F708E-16AD-AD2E-604F-4B2E508EBE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85383" y="39391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ACCA9030-2047-25F5-C43B-8649381EF5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26755" y="1330254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68EE036D-8A85-E6C0-9417-F4EC482E86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38215" y="161990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9F7E11BB-0F9B-2E30-0C4E-15F9962919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11906" y="887441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F9DB4A66-2BF9-6BC0-2F6D-C9A9ADC5911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95639" y="3767930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17F811F2-FD44-80D1-61E2-BE741BA1D9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58025" y="291657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D3F73117-9410-5A63-0620-48C97D07D7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69635" y="2382527"/>
              <a:ext cx="145461" cy="14546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EB89C711-7AB3-21E7-31A1-0235095E0A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45562" y="155966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8D0A2D06-359B-5635-BB9F-F168A212E6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57022" y="184931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994E1EE3-D25B-FB81-7B10-6E4E95F839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03552" y="208947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8BD5B77C-6795-854E-0D7D-FB3AB20859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28150" y="287615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CC88DC5F-161B-8DF4-700D-FFD32935E7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23631" y="263087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60042640-18C9-375D-D24A-6EA6B05EC9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5091" y="292052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D5533066-C935-86E0-BF5F-367128C3B6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81620" y="316068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D69B35C-ED23-5A89-3676-EFE809A7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0618" y="3425983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D1191E64-1AD2-FBBC-3A2B-C8EA4DD5D4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66206" y="365771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D8D92B83-EFBB-7999-3886-5A56FEE18F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77666" y="394736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38F247D8-28B2-043A-FFEE-D1D7DD1B40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24195" y="418752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8A8B2D05-2E48-10AD-7897-48119837AC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6421" y="466836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5FF78006-80B3-3DEC-63C9-4082EFAE59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11902" y="442308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3C1A2856-92F6-0D6C-B101-158EB45DED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3362" y="471273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EFADDF22-4883-329E-BB76-E21F4E2F05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07299" y="4092830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EAB33936-90A2-C3B9-001D-4F4EB9056C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60812" y="350240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09E86B2A-C5A1-111D-5009-4D2BA43B7D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56293" y="3257122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D4234FB7-6A96-F545-A502-60941A00DF8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67752" y="354677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8C2A3366-CF8A-3F4B-FBE9-69278AACDA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14282" y="3786932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114A511C-6B8C-D95A-6BA3-DA60EFFFB9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22191" y="225728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DBEB3A6A-1438-DF77-1D24-665ACF357C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17672" y="201200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85F5749-6F87-56B6-D5E5-1170C253C0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29131" y="2301660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28441E9C-E87A-EBBD-2DCD-A09B3FB0FB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75661" y="254181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CC113603-3808-6401-1DB1-31E979DE8B8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93979" y="335922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29806250-412C-B5BA-A04D-6A0E9BC962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38211" y="284583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EA76B87E-B008-45D0-6D26-BA3A63F90A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93529" y="419075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A62A3F44-9FD4-7250-8987-C6B970D3BA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39172" y="248881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19D6DA2F-E659-98D5-8F7F-2B176B0622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59348" y="4638045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8A7165C3-D9BF-182A-A3AF-75B75BF110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34849" y="125206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8875035C-4FC4-9DC5-00D7-2634B87E66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02822" y="1569194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4C6BE15B-DE84-D897-24D9-B9808C2BA4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32521" y="418752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F8A48061-1583-BD87-FC96-9FB54FFA67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3893" y="1578604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BE86B7BC-5D18-0633-ED40-D82A8D0DFE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5352" y="186825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A8139696-F175-9EBB-3876-FD3986FFCD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59043" y="1135791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3C9B317E-A768-C761-17D2-3BF63D7E42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42777" y="4016279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4CC24AC5-1FDD-AD6C-7A01-DC778974B0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05163" y="3164927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460D2BDB-D49E-E2CD-DC87-F907ABBB84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6773" y="2630876"/>
              <a:ext cx="145461" cy="145461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74"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0092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50F9D-DD53-075E-199F-0FA9DA514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2854968" cy="1447442"/>
          </a:xfrm>
        </p:spPr>
        <p:txBody>
          <a:bodyPr/>
          <a:lstStyle/>
          <a:p>
            <a:r>
              <a:rPr lang="en-US" dirty="0"/>
              <a:t>Digitally Transforming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D9A7914-366B-9776-2930-6854DCD70048}"/>
              </a:ext>
            </a:extLst>
          </p:cNvPr>
          <p:cNvSpPr/>
          <p:nvPr/>
        </p:nvSpPr>
        <p:spPr>
          <a:xfrm>
            <a:off x="1422352" y="3856383"/>
            <a:ext cx="5307496" cy="75537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The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3133F1E-27C9-DA59-AF8C-1164FBE66C67}"/>
              </a:ext>
            </a:extLst>
          </p:cNvPr>
          <p:cNvSpPr/>
          <p:nvPr/>
        </p:nvSpPr>
        <p:spPr>
          <a:xfrm>
            <a:off x="12891052" y="3856383"/>
            <a:ext cx="5307496" cy="75537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Now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47C02A9-4225-E1EE-BBB4-E9471414E6A3}"/>
              </a:ext>
            </a:extLst>
          </p:cNvPr>
          <p:cNvSpPr/>
          <p:nvPr/>
        </p:nvSpPr>
        <p:spPr>
          <a:xfrm>
            <a:off x="24359752" y="3856383"/>
            <a:ext cx="5307496" cy="75537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Fu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59006E-8E68-4CE9-C16E-6142FDAE3F57}"/>
              </a:ext>
            </a:extLst>
          </p:cNvPr>
          <p:cNvSpPr txBox="1"/>
          <p:nvPr/>
        </p:nvSpPr>
        <p:spPr>
          <a:xfrm>
            <a:off x="1422352" y="5943600"/>
            <a:ext cx="678692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Disconnected</a:t>
            </a:r>
          </a:p>
          <a:p>
            <a:pPr marL="285750" indent="-285750">
              <a:buFontTx/>
              <a:buChar char="-"/>
            </a:pPr>
            <a:r>
              <a:rPr lang="en-US" sz="3200" dirty="0"/>
              <a:t>Data silos</a:t>
            </a:r>
          </a:p>
          <a:p>
            <a:pPr marL="285750" indent="-285750">
              <a:buFontTx/>
              <a:buChar char="-"/>
            </a:pPr>
            <a:r>
              <a:rPr lang="en-US" sz="3200" dirty="0"/>
              <a:t>Technology not integrated</a:t>
            </a:r>
          </a:p>
          <a:p>
            <a:pPr marL="285750" indent="-285750">
              <a:buFontTx/>
              <a:buChar char="-"/>
            </a:pPr>
            <a:r>
              <a:rPr lang="en-US" sz="3200" dirty="0"/>
              <a:t>Operating model not optimized </a:t>
            </a:r>
          </a:p>
          <a:p>
            <a:pPr marL="285750" indent="-285750">
              <a:buFontTx/>
              <a:buChar char="-"/>
            </a:pPr>
            <a:endParaRPr lang="en-US" sz="3200" dirty="0"/>
          </a:p>
          <a:p>
            <a:endParaRPr lang="en-US" sz="3200" b="1" dirty="0"/>
          </a:p>
          <a:p>
            <a:r>
              <a:rPr lang="en-US" sz="3200" b="1" dirty="0"/>
              <a:t>Consequences</a:t>
            </a:r>
          </a:p>
          <a:p>
            <a:pPr marL="457200" indent="-457200">
              <a:buFontTx/>
              <a:buChar char="-"/>
            </a:pPr>
            <a:r>
              <a:rPr lang="en-US" sz="3200" dirty="0"/>
              <a:t>Takes longer</a:t>
            </a:r>
          </a:p>
          <a:p>
            <a:pPr marL="457200" indent="-457200">
              <a:buFontTx/>
              <a:buChar char="-"/>
            </a:pPr>
            <a:r>
              <a:rPr lang="en-US" sz="3200" dirty="0"/>
              <a:t>Miscommunication</a:t>
            </a:r>
          </a:p>
          <a:p>
            <a:pPr marL="457200" indent="-457200">
              <a:buFontTx/>
              <a:buChar char="-"/>
            </a:pPr>
            <a:r>
              <a:rPr lang="en-US" sz="3200" i="1" dirty="0"/>
              <a:t>Reinventing the wheel </a:t>
            </a:r>
          </a:p>
          <a:p>
            <a:pPr marL="457200" indent="-457200">
              <a:buFontTx/>
              <a:buChar char="-"/>
            </a:pPr>
            <a:endParaRPr lang="en-US" sz="3200" dirty="0"/>
          </a:p>
          <a:p>
            <a:pPr marL="285750" indent="-285750">
              <a:buFontTx/>
              <a:buChar char="-"/>
            </a:pPr>
            <a:endParaRPr lang="en-US" sz="3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60CCDA-E19B-F8B1-285B-3F017A51D583}"/>
              </a:ext>
            </a:extLst>
          </p:cNvPr>
          <p:cNvSpPr txBox="1"/>
          <p:nvPr/>
        </p:nvSpPr>
        <p:spPr>
          <a:xfrm>
            <a:off x="24277320" y="5943599"/>
            <a:ext cx="5455526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Connected</a:t>
            </a:r>
          </a:p>
          <a:p>
            <a:pPr marL="285750" indent="-285750">
              <a:buFontTx/>
              <a:buChar char="-"/>
            </a:pPr>
            <a:r>
              <a:rPr lang="en-US" sz="3200" dirty="0"/>
              <a:t>Highly standardized</a:t>
            </a:r>
          </a:p>
          <a:p>
            <a:pPr marL="285750" indent="-285750">
              <a:buFontTx/>
              <a:buChar char="-"/>
            </a:pPr>
            <a:r>
              <a:rPr lang="en-US" sz="3200" dirty="0"/>
              <a:t>Highly integrated</a:t>
            </a:r>
          </a:p>
          <a:p>
            <a:pPr marL="285750" indent="-285750">
              <a:buFontTx/>
              <a:buChar char="-"/>
            </a:pPr>
            <a:endParaRPr lang="en-US" sz="3200" dirty="0"/>
          </a:p>
          <a:p>
            <a:endParaRPr lang="en-US" sz="3200" b="1" dirty="0"/>
          </a:p>
          <a:p>
            <a:r>
              <a:rPr lang="en-US" sz="3200" b="1" dirty="0"/>
              <a:t>Benefits</a:t>
            </a:r>
          </a:p>
          <a:p>
            <a:pPr marL="457200" indent="-457200">
              <a:buFontTx/>
              <a:buChar char="-"/>
            </a:pPr>
            <a:r>
              <a:rPr lang="en-US" sz="3200" i="1" dirty="0"/>
              <a:t>Faster</a:t>
            </a:r>
          </a:p>
          <a:p>
            <a:pPr marL="457200" indent="-457200">
              <a:buFontTx/>
              <a:buChar char="-"/>
            </a:pPr>
            <a:r>
              <a:rPr lang="en-US" sz="3200" i="1" dirty="0"/>
              <a:t>Better</a:t>
            </a:r>
          </a:p>
          <a:p>
            <a:pPr marL="457200" indent="-457200">
              <a:buFontTx/>
              <a:buChar char="-"/>
            </a:pPr>
            <a:r>
              <a:rPr lang="en-US" sz="3200" i="1" dirty="0"/>
              <a:t>Smarter</a:t>
            </a:r>
          </a:p>
          <a:p>
            <a:pPr marL="457200" indent="-457200">
              <a:buFontTx/>
              <a:buChar char="-"/>
            </a:pPr>
            <a:endParaRPr lang="en-US" sz="3200" dirty="0"/>
          </a:p>
          <a:p>
            <a:pPr marL="285750" indent="-285750">
              <a:buFontTx/>
              <a:buChar char="-"/>
            </a:pPr>
            <a:endParaRPr lang="en-US" sz="3200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80A0422-F607-87BD-B492-8F85319662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85289" y="5943599"/>
            <a:ext cx="5313259" cy="4602141"/>
          </a:xfrm>
          <a:prstGeom prst="rect">
            <a:avLst/>
          </a:prstGeom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9318F4B-55B4-9783-DD18-1D1E93E670B0}"/>
              </a:ext>
            </a:extLst>
          </p:cNvPr>
          <p:cNvCxnSpPr>
            <a:stCxn id="3" idx="3"/>
            <a:endCxn id="4" idx="1"/>
          </p:cNvCxnSpPr>
          <p:nvPr/>
        </p:nvCxnSpPr>
        <p:spPr>
          <a:xfrm>
            <a:off x="6729848" y="4234070"/>
            <a:ext cx="6161204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9667B95-9718-6C6C-AFD9-6636B94112D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18198548" y="4234070"/>
            <a:ext cx="6161204" cy="0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C4F0B2FE-5564-803C-8E9D-D022ECF5590D}"/>
              </a:ext>
            </a:extLst>
          </p:cNvPr>
          <p:cNvSpPr txBox="1"/>
          <p:nvPr/>
        </p:nvSpPr>
        <p:spPr>
          <a:xfrm>
            <a:off x="14052916" y="10835253"/>
            <a:ext cx="303784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Digital Transformation Program</a:t>
            </a:r>
          </a:p>
        </p:txBody>
      </p:sp>
    </p:spTree>
    <p:extLst>
      <p:ext uri="{BB962C8B-B14F-4D97-AF65-F5344CB8AC3E}">
        <p14:creationId xmlns:p14="http://schemas.microsoft.com/office/powerpoint/2010/main" val="1961823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E8DB1D-6A7B-EADE-4FE4-E53D4C66C284}"/>
              </a:ext>
            </a:extLst>
          </p:cNvPr>
          <p:cNvSpPr/>
          <p:nvPr/>
        </p:nvSpPr>
        <p:spPr>
          <a:xfrm>
            <a:off x="7857424" y="2920181"/>
            <a:ext cx="7751783" cy="10295488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280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31A089-0097-4E4E-AACE-5FD2A1298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52" y="659607"/>
            <a:ext cx="24876587" cy="1447442"/>
          </a:xfrm>
        </p:spPr>
        <p:txBody>
          <a:bodyPr>
            <a:noAutofit/>
          </a:bodyPr>
          <a:lstStyle/>
          <a:p>
            <a:r>
              <a:rPr lang="en-US">
                <a:latin typeface="+mj-lt"/>
              </a:rPr>
              <a:t>Top Findings for Improvement in 2022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29ACBD0-443F-4A7B-B05F-26A7E926906D}"/>
              </a:ext>
            </a:extLst>
          </p:cNvPr>
          <p:cNvSpPr/>
          <p:nvPr/>
        </p:nvSpPr>
        <p:spPr>
          <a:xfrm>
            <a:off x="22869112" y="4358922"/>
            <a:ext cx="8240448" cy="8848046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480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7B8E3B35-02E8-41B5-85B7-7AEC652C708D}"/>
              </a:ext>
            </a:extLst>
          </p:cNvPr>
          <p:cNvSpPr/>
          <p:nvPr/>
        </p:nvSpPr>
        <p:spPr>
          <a:xfrm>
            <a:off x="38101" y="2911480"/>
            <a:ext cx="7809328" cy="10295488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56224615-35DA-45E2-A472-6D6E4D70D20E}"/>
              </a:ext>
            </a:extLst>
          </p:cNvPr>
          <p:cNvSpPr/>
          <p:nvPr/>
        </p:nvSpPr>
        <p:spPr>
          <a:xfrm>
            <a:off x="15577556" y="2891040"/>
            <a:ext cx="7772400" cy="10336367"/>
          </a:xfrm>
          <a:prstGeom prst="roundRect">
            <a:avLst>
              <a:gd name="adj" fmla="val 0"/>
            </a:avLst>
          </a:prstGeom>
          <a:solidFill>
            <a:srgbClr val="EB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5CB1A4C5-8DDA-4F0E-B96F-951BA9A7F2A5}"/>
              </a:ext>
            </a:extLst>
          </p:cNvPr>
          <p:cNvSpPr/>
          <p:nvPr/>
        </p:nvSpPr>
        <p:spPr>
          <a:xfrm>
            <a:off x="23276692" y="2920181"/>
            <a:ext cx="7774808" cy="80097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4000" b="1">
                <a:solidFill>
                  <a:schemeClr val="accent6"/>
                </a:solidFill>
                <a:latin typeface="+mj-lt"/>
                <a:ea typeface="Times New Roman" panose="02020603050405020304" pitchFamily="18" charset="0"/>
              </a:rPr>
              <a:t>DATA</a:t>
            </a:r>
          </a:p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2800" b="1">
              <a:solidFill>
                <a:schemeClr val="accent2"/>
              </a:solidFill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4800" b="1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Reliability</a:t>
            </a:r>
            <a:r>
              <a:rPr lang="en-US" sz="480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Data is often incomplete (incl. design info).</a:t>
            </a:r>
            <a:endParaRPr lang="en-US" sz="280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Timeliness</a:t>
            </a:r>
            <a:r>
              <a:rPr lang="en-US" sz="480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</a:t>
            </a:r>
            <a:r>
              <a:rPr lang="en-US" sz="320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eal time data and reporting is needed.</a:t>
            </a: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A</a:t>
            </a:r>
            <a:r>
              <a:rPr lang="en-US" sz="4800" b="1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vailability </a:t>
            </a:r>
            <a:r>
              <a:rPr lang="en-US" sz="320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Access through single data source (esp. survey / cost). </a:t>
            </a:r>
            <a:endParaRPr lang="en-US" sz="280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743387D0-2FB4-45A9-81E9-F354B4CF344C}"/>
              </a:ext>
            </a:extLst>
          </p:cNvPr>
          <p:cNvSpPr/>
          <p:nvPr/>
        </p:nvSpPr>
        <p:spPr>
          <a:xfrm>
            <a:off x="371675" y="3423208"/>
            <a:ext cx="7261128" cy="76915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chemeClr val="accent4"/>
                </a:solidFill>
                <a:latin typeface="+mj-lt"/>
                <a:ea typeface="Times New Roman" panose="02020603050405020304" pitchFamily="18" charset="0"/>
              </a:rPr>
              <a:t>PEOPLE</a:t>
            </a:r>
            <a:endParaRPr lang="en-US" sz="3600" b="1" dirty="0">
              <a:solidFill>
                <a:schemeClr val="accent4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2800" b="1" dirty="0">
              <a:solidFill>
                <a:schemeClr val="accent4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4800" b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Define</a:t>
            </a:r>
            <a:r>
              <a:rPr lang="en-US" sz="4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Roles</a:t>
            </a:r>
            <a:r>
              <a:rPr lang="en-US" sz="4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and clarify</a:t>
            </a:r>
            <a:r>
              <a:rPr lang="en-US" sz="28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 responsibilities.</a:t>
            </a: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Develop Technical Skills</a:t>
            </a:r>
            <a:r>
              <a:rPr lang="en-US" sz="2800" b="1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across all divisions.</a:t>
            </a:r>
            <a:endParaRPr lang="en-US" sz="2800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latin typeface="+mj-lt"/>
              </a:rPr>
              <a:t>Enhance Training</a:t>
            </a:r>
            <a:r>
              <a:rPr lang="en-US" sz="4800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+mj-lt"/>
              </a:rPr>
              <a:t>around project delivery and asset mgmt. practices.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415314B8-DCC3-42AB-9AAD-CD27ABBBAB6E}"/>
              </a:ext>
            </a:extLst>
          </p:cNvPr>
          <p:cNvSpPr/>
          <p:nvPr/>
        </p:nvSpPr>
        <p:spPr>
          <a:xfrm>
            <a:off x="15697714" y="3364214"/>
            <a:ext cx="7532083" cy="535485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4000" b="1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</a:rPr>
              <a:t>TECHNOLOGY</a:t>
            </a:r>
            <a:endParaRPr lang="en-US" sz="3600" b="1" dirty="0">
              <a:solidFill>
                <a:schemeClr val="accent1"/>
              </a:solidFill>
              <a:latin typeface="+mj-lt"/>
              <a:ea typeface="Times New Roman" panose="02020603050405020304" pitchFamily="18" charset="0"/>
            </a:endParaRPr>
          </a:p>
          <a:p>
            <a:pPr algn="ctr"/>
            <a:endParaRPr lang="en-US" sz="2800" b="1" dirty="0">
              <a:solidFill>
                <a:schemeClr val="accent1"/>
              </a:solidFill>
              <a:latin typeface="+mj-lt"/>
              <a:ea typeface="Times New Roman" panose="02020603050405020304" pitchFamily="18" charset="0"/>
            </a:endParaRPr>
          </a:p>
          <a:p>
            <a:pPr marL="914400" indent="-914400">
              <a:buFont typeface="Arial" panose="020B0604020202020204" pitchFamily="34" charset="0"/>
              <a:buChar char="•"/>
            </a:pPr>
            <a:endParaRPr lang="en-US" sz="4800" b="1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indent="-914400"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Modernize technology</a:t>
            </a:r>
            <a:r>
              <a:rPr lang="en-US" sz="4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by r</a:t>
            </a:r>
            <a:r>
              <a:rPr lang="en-US" sz="32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eplacing obsolete systems. </a:t>
            </a:r>
            <a:endParaRPr lang="en-US" sz="3200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914400" indent="-914400"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Digitize</a:t>
            </a:r>
            <a:r>
              <a:rPr lang="en-US" sz="4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i</a:t>
            </a:r>
            <a:r>
              <a:rPr lang="en-US" sz="32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nefficient processes with cloud-based / mobile tools.</a:t>
            </a:r>
            <a:endParaRPr lang="en-US" sz="5400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Organize</a:t>
            </a:r>
            <a:r>
              <a:rPr lang="en-US" sz="2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project sites</a:t>
            </a:r>
            <a:r>
              <a:rPr lang="en-US" sz="4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(Teams or SharePoint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) and workflows.</a:t>
            </a:r>
            <a:endParaRPr lang="en-US" sz="2800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2BAD0FF-525D-470B-BA02-08E9E9ABC8F6}"/>
              </a:ext>
            </a:extLst>
          </p:cNvPr>
          <p:cNvSpPr/>
          <p:nvPr/>
        </p:nvSpPr>
        <p:spPr>
          <a:xfrm>
            <a:off x="8273402" y="3364214"/>
            <a:ext cx="6827482" cy="8167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chemeClr val="accent2"/>
                </a:solidFill>
                <a:latin typeface="+mj-lt"/>
                <a:ea typeface="Times New Roman" panose="02020603050405020304" pitchFamily="18" charset="0"/>
              </a:rPr>
              <a:t>PROCESS</a:t>
            </a:r>
            <a:endParaRPr lang="en-US" sz="3600" b="1" dirty="0">
              <a:solidFill>
                <a:schemeClr val="accent2"/>
              </a:solidFill>
              <a:latin typeface="+mj-lt"/>
              <a:ea typeface="Times New Roman" panose="02020603050405020304" pitchFamily="18" charset="0"/>
            </a:endParaRPr>
          </a:p>
          <a:p>
            <a:pPr marR="0" lvl="0" algn="ctr">
              <a:spcBef>
                <a:spcPts val="0"/>
              </a:spcBef>
              <a:spcAft>
                <a:spcPts val="0"/>
              </a:spcAft>
            </a:pPr>
            <a:endParaRPr lang="en-US" sz="2800" b="1" dirty="0">
              <a:solidFill>
                <a:schemeClr val="accent6"/>
              </a:solidFill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4800" b="1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Scalability </a:t>
            </a:r>
            <a:r>
              <a:rPr lang="en-US" sz="32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of processes and systems.</a:t>
            </a:r>
            <a:endParaRPr lang="en-US" sz="5400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Clarity</a:t>
            </a:r>
            <a:r>
              <a:rPr lang="en-US" sz="28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chemeClr val="tx1"/>
                </a:solidFill>
                <a:effectLst/>
                <a:latin typeface="+mj-lt"/>
                <a:ea typeface="Times New Roman" panose="02020603050405020304" pitchFamily="18" charset="0"/>
              </a:rPr>
              <a:t>of project delivery guidelines.</a:t>
            </a:r>
            <a:endParaRPr lang="en-US" sz="2800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914400" marR="0" lvl="0" indent="-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4800" b="1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Improvement</a:t>
            </a:r>
            <a:r>
              <a:rPr lang="en-US" sz="28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of scoping, estimating and change mgmt.</a:t>
            </a:r>
            <a:endParaRPr lang="en-US" sz="4800" dirty="0">
              <a:solidFill>
                <a:schemeClr val="tx1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861D983-DE77-678E-31D0-0B2C01CEE7BF}"/>
              </a:ext>
            </a:extLst>
          </p:cNvPr>
          <p:cNvGrpSpPr/>
          <p:nvPr/>
        </p:nvGrpSpPr>
        <p:grpSpPr>
          <a:xfrm>
            <a:off x="18420957" y="10203882"/>
            <a:ext cx="2019444" cy="2019448"/>
            <a:chOff x="23762103" y="4450524"/>
            <a:chExt cx="4941589" cy="4941589"/>
          </a:xfrm>
        </p:grpSpPr>
        <p:pic>
          <p:nvPicPr>
            <p:cNvPr id="17" name="Graphic 16" descr="Connections with solid fill">
              <a:extLst>
                <a:ext uri="{FF2B5EF4-FFF2-40B4-BE49-F238E27FC236}">
                  <a16:creationId xmlns:a16="http://schemas.microsoft.com/office/drawing/2014/main" id="{57A9EB12-A2EB-559E-A17D-5B2DEB158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21019780">
              <a:off x="23762103" y="4450524"/>
              <a:ext cx="4941589" cy="4941589"/>
            </a:xfrm>
            <a:prstGeom prst="rect">
              <a:avLst/>
            </a:prstGeom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AD3B9E8-DD07-73C4-19B1-615B0190B4DA}"/>
                </a:ext>
              </a:extLst>
            </p:cNvPr>
            <p:cNvSpPr/>
            <p:nvPr/>
          </p:nvSpPr>
          <p:spPr>
            <a:xfrm rot="21019780">
              <a:off x="25844090" y="6835439"/>
              <a:ext cx="1404070" cy="14040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ECDDEDE-A553-EA9E-5EC0-C2DEC7FB85F4}"/>
                </a:ext>
              </a:extLst>
            </p:cNvPr>
            <p:cNvSpPr/>
            <p:nvPr/>
          </p:nvSpPr>
          <p:spPr>
            <a:xfrm rot="21019780">
              <a:off x="25336942" y="5003636"/>
              <a:ext cx="854516" cy="854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00E7C75-5CEF-C3C1-8E31-C39E52AA0851}"/>
                </a:ext>
              </a:extLst>
            </p:cNvPr>
            <p:cNvSpPr/>
            <p:nvPr/>
          </p:nvSpPr>
          <p:spPr>
            <a:xfrm rot="21019780">
              <a:off x="24076520" y="6317639"/>
              <a:ext cx="1237219" cy="123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AFAE599-6C52-55E4-7D96-172EC9D90618}"/>
                </a:ext>
              </a:extLst>
            </p:cNvPr>
            <p:cNvSpPr/>
            <p:nvPr/>
          </p:nvSpPr>
          <p:spPr>
            <a:xfrm rot="21019780">
              <a:off x="26654940" y="4710258"/>
              <a:ext cx="1237219" cy="1237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E311576-09F6-BC10-1FDC-2D85DC94FA93}"/>
                </a:ext>
              </a:extLst>
            </p:cNvPr>
            <p:cNvSpPr/>
            <p:nvPr/>
          </p:nvSpPr>
          <p:spPr>
            <a:xfrm rot="21019780">
              <a:off x="24835812" y="8229507"/>
              <a:ext cx="854516" cy="854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18677FC-341C-E9E2-C843-D799E54E3376}"/>
                </a:ext>
              </a:extLst>
            </p:cNvPr>
            <p:cNvSpPr/>
            <p:nvPr/>
          </p:nvSpPr>
          <p:spPr>
            <a:xfrm rot="21019780">
              <a:off x="27555901" y="6134002"/>
              <a:ext cx="854516" cy="854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phic 23" descr="Ui Ux with solid fill">
              <a:extLst>
                <a:ext uri="{FF2B5EF4-FFF2-40B4-BE49-F238E27FC236}">
                  <a16:creationId xmlns:a16="http://schemas.microsoft.com/office/drawing/2014/main" id="{A59E8DFB-1865-8679-96DA-A95D350A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6749057" y="4882728"/>
              <a:ext cx="1054214" cy="1054214"/>
            </a:xfrm>
            <a:prstGeom prst="rect">
              <a:avLst/>
            </a:prstGeom>
          </p:spPr>
        </p:pic>
        <p:pic>
          <p:nvPicPr>
            <p:cNvPr id="25" name="Graphic 24" descr="User with solid fill">
              <a:extLst>
                <a:ext uri="{FF2B5EF4-FFF2-40B4-BE49-F238E27FC236}">
                  <a16:creationId xmlns:a16="http://schemas.microsoft.com/office/drawing/2014/main" id="{6D09AE31-1FE6-4743-85D6-7565EA375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629287" y="6173067"/>
              <a:ext cx="734543" cy="734543"/>
            </a:xfrm>
            <a:prstGeom prst="rect">
              <a:avLst/>
            </a:prstGeom>
          </p:spPr>
        </p:pic>
        <p:pic>
          <p:nvPicPr>
            <p:cNvPr id="26" name="Graphic 25" descr="Wi-Fi with solid fill">
              <a:extLst>
                <a:ext uri="{FF2B5EF4-FFF2-40B4-BE49-F238E27FC236}">
                  <a16:creationId xmlns:a16="http://schemas.microsoft.com/office/drawing/2014/main" id="{609671E8-97C4-EB48-BB01-9933AD7DE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18864479">
              <a:off x="24086226" y="6346908"/>
              <a:ext cx="1211109" cy="1211109"/>
            </a:xfrm>
            <a:prstGeom prst="rect">
              <a:avLst/>
            </a:prstGeom>
          </p:spPr>
        </p:pic>
        <p:pic>
          <p:nvPicPr>
            <p:cNvPr id="27" name="Graphic 26" descr="User with solid fill">
              <a:extLst>
                <a:ext uri="{FF2B5EF4-FFF2-40B4-BE49-F238E27FC236}">
                  <a16:creationId xmlns:a16="http://schemas.microsoft.com/office/drawing/2014/main" id="{7B53A762-B778-537B-7B44-D50266610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887420" y="8267818"/>
              <a:ext cx="734543" cy="734543"/>
            </a:xfrm>
            <a:prstGeom prst="rect">
              <a:avLst/>
            </a:prstGeom>
          </p:spPr>
        </p:pic>
        <p:pic>
          <p:nvPicPr>
            <p:cNvPr id="28" name="Graphic 27" descr="User with solid fill">
              <a:extLst>
                <a:ext uri="{FF2B5EF4-FFF2-40B4-BE49-F238E27FC236}">
                  <a16:creationId xmlns:a16="http://schemas.microsoft.com/office/drawing/2014/main" id="{D7B3B0ED-49C6-41C0-0B2E-CB57883A4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5869464" y="6777160"/>
              <a:ext cx="1344158" cy="1344158"/>
            </a:xfrm>
            <a:prstGeom prst="rect">
              <a:avLst/>
            </a:prstGeom>
          </p:spPr>
        </p:pic>
        <p:pic>
          <p:nvPicPr>
            <p:cNvPr id="29" name="Graphic 28" descr="User with solid fill">
              <a:extLst>
                <a:ext uri="{FF2B5EF4-FFF2-40B4-BE49-F238E27FC236}">
                  <a16:creationId xmlns:a16="http://schemas.microsoft.com/office/drawing/2014/main" id="{416909B7-1701-F88A-0C46-D8811E25C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5395749" y="5031286"/>
              <a:ext cx="734543" cy="734543"/>
            </a:xfrm>
            <a:prstGeom prst="rect">
              <a:avLst/>
            </a:prstGeom>
          </p:spPr>
        </p:pic>
      </p:grpSp>
      <p:pic>
        <p:nvPicPr>
          <p:cNvPr id="30" name="Graphic 29" descr="Users">
            <a:extLst>
              <a:ext uri="{FF2B5EF4-FFF2-40B4-BE49-F238E27FC236}">
                <a16:creationId xmlns:a16="http://schemas.microsoft.com/office/drawing/2014/main" id="{68671819-B8D4-F45C-5CEF-75C8EC1BDA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12050" y="10361303"/>
            <a:ext cx="1920533" cy="1920537"/>
          </a:xfrm>
          <a:prstGeom prst="rect">
            <a:avLst/>
          </a:prstGeom>
        </p:spPr>
      </p:pic>
      <p:pic>
        <p:nvPicPr>
          <p:cNvPr id="32" name="Graphic 31" descr="Circles with arrows with solid fill">
            <a:extLst>
              <a:ext uri="{FF2B5EF4-FFF2-40B4-BE49-F238E27FC236}">
                <a16:creationId xmlns:a16="http://schemas.microsoft.com/office/drawing/2014/main" id="{0E42655D-B0FF-87CE-AAE9-A1C23092323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10781475" y="10354175"/>
            <a:ext cx="1827479" cy="1827483"/>
          </a:xfrm>
          <a:prstGeom prst="rect">
            <a:avLst/>
          </a:prstGeom>
        </p:spPr>
      </p:pic>
      <p:pic>
        <p:nvPicPr>
          <p:cNvPr id="33" name="Graphic 32" descr="Bar chart with solid fill">
            <a:extLst>
              <a:ext uri="{FF2B5EF4-FFF2-40B4-BE49-F238E27FC236}">
                <a16:creationId xmlns:a16="http://schemas.microsoft.com/office/drawing/2014/main" id="{0C5699C2-895F-AAEA-A562-2D4C23741E6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26747415" y="10166373"/>
            <a:ext cx="1783080" cy="178308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5F75918-DC5B-550F-15D0-96E9E1E057AC}"/>
              </a:ext>
            </a:extLst>
          </p:cNvPr>
          <p:cNvSpPr/>
          <p:nvPr/>
        </p:nvSpPr>
        <p:spPr>
          <a:xfrm>
            <a:off x="38100" y="2915830"/>
            <a:ext cx="7799364" cy="14474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Peopl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53CE556-89CA-FC26-1B07-3B7FCBE26FDC}"/>
              </a:ext>
            </a:extLst>
          </p:cNvPr>
          <p:cNvSpPr/>
          <p:nvPr/>
        </p:nvSpPr>
        <p:spPr>
          <a:xfrm>
            <a:off x="7843554" y="2915830"/>
            <a:ext cx="7758232" cy="14474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Proces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9E1C380-5671-FB5E-479F-91B50603E21F}"/>
              </a:ext>
            </a:extLst>
          </p:cNvPr>
          <p:cNvSpPr/>
          <p:nvPr/>
        </p:nvSpPr>
        <p:spPr>
          <a:xfrm>
            <a:off x="15569776" y="2915830"/>
            <a:ext cx="7799364" cy="144744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Technolog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51D72C-3EC3-D3B1-65B0-861BE700BF76}"/>
              </a:ext>
            </a:extLst>
          </p:cNvPr>
          <p:cNvSpPr/>
          <p:nvPr/>
        </p:nvSpPr>
        <p:spPr>
          <a:xfrm>
            <a:off x="23337131" y="2915830"/>
            <a:ext cx="7799364" cy="14474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984828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4A36F-A654-4A3D-9D98-06B8AE028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1000" dirty="0">
                <a:latin typeface="+mj-lt"/>
              </a:rPr>
              <a:t>02. The Operating Framework</a:t>
            </a:r>
          </a:p>
        </p:txBody>
      </p:sp>
    </p:spTree>
    <p:extLst>
      <p:ext uri="{BB962C8B-B14F-4D97-AF65-F5344CB8AC3E}">
        <p14:creationId xmlns:p14="http://schemas.microsoft.com/office/powerpoint/2010/main" val="2614918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industry_POWER_USER_SEPARATOR_ICONS_setti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47625">
          <a:tailEnd type="triangle"/>
        </a:ln>
      </a:spPr>
      <a:bodyPr/>
      <a:lstStyle/>
      <a:style>
        <a:lnRef idx="1">
          <a:schemeClr val="accent3"/>
        </a:lnRef>
        <a:fillRef idx="0">
          <a:schemeClr val="accent3"/>
        </a:fillRef>
        <a:effectRef idx="0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f9a1383-b10e-40d9-a004-a2e18fb89637">
      <UserInfo>
        <DisplayName>Janjua, Sadia</DisplayName>
        <AccountId>12</AccountId>
        <AccountType/>
      </UserInfo>
      <UserInfo>
        <DisplayName>Sattelberger, Daniel</DisplayName>
        <AccountId>19</AccountId>
        <AccountType/>
      </UserInfo>
      <UserInfo>
        <DisplayName>Turner, Ashley-Dojn</DisplayName>
        <AccountId>38</AccountId>
        <AccountType/>
      </UserInfo>
      <UserInfo>
        <DisplayName>Karachaliou, Dimitra</DisplayName>
        <AccountId>40</AccountId>
        <AccountType/>
      </UserInfo>
      <UserInfo>
        <DisplayName>Beaumont, Wes</DisplayName>
        <AccountId>10</AccountId>
        <AccountType/>
      </UserInfo>
      <UserInfo>
        <DisplayName>Hidden - 2023/03/08 - RITM0096592 - Sribhashyam, Sreya</DisplayName>
        <AccountId>169</AccountId>
        <AccountType/>
      </UserInfo>
      <UserInfo>
        <DisplayName>Aghasarkissian, Nare</DisplayName>
        <AccountId>467</AccountId>
        <AccountType/>
      </UserInfo>
      <UserInfo>
        <DisplayName>Ma, Yanan</DisplayName>
        <AccountId>362</AccountId>
        <AccountType/>
      </UserInfo>
      <UserInfo>
        <DisplayName>Altan, Osman</DisplayName>
        <AccountId>887</AccountId>
        <AccountType/>
      </UserInfo>
      <UserInfo>
        <DisplayName>Baig, Rizwan (Mirza)</DisplayName>
        <AccountId>166</AccountId>
        <AccountType/>
      </UserInfo>
    </SharedWithUsers>
    <TaxCatchAll xmlns="df9a1383-b10e-40d9-a004-a2e18fb89637" xsi:nil="true"/>
    <lcf76f155ced4ddcb4097134ff3c332f xmlns="8173f6c5-f0bc-45ef-87a9-7c931049db17">
      <Terms xmlns="http://schemas.microsoft.com/office/infopath/2007/PartnerControls"/>
    </lcf76f155ced4ddcb4097134ff3c332f>
    <Division xmlns="8173f6c5-f0bc-45ef-87a9-7c931049db17" xsi:nil="true"/>
    <Unit xmlns="8173f6c5-f0bc-45ef-87a9-7c931049db17" xsi:nil="true"/>
    <Initiative xmlns="8173f6c5-f0bc-45ef-87a9-7c931049db17" xsi:nil="true"/>
    <Blueprint xmlns="8173f6c5-f0bc-45ef-87a9-7c931049db17" xsi:nil="true"/>
    <Purpose xmlns="8173f6c5-f0bc-45ef-87a9-7c931049db17" xsi:nil="true"/>
    <FileDescription xmlns="8173f6c5-f0bc-45ef-87a9-7c931049db17">KnowledgeBar</FileDescription>
    <Old_Filename xmlns="8173f6c5-f0bc-45ef-87a9-7c931049db17">STR-DGT-XX-XX-COM-0024-KnowledgeBar</Old_Filename>
    <Unit_Code xmlns="8173f6c5-f0bc-45ef-87a9-7c931049db17">XX</Unit_Code>
    <Counter xmlns="8173f6c5-f0bc-45ef-87a9-7c931049db17">1</Counter>
    <Initiative_Code xmlns="8173f6c5-f0bc-45ef-87a9-7c931049db17">COM</Initiative_Code>
    <Blueprint_Code xmlns="8173f6c5-f0bc-45ef-87a9-7c931049db17">XX</Blueprint_Code>
    <Purpose_Code xmlns="8173f6c5-f0bc-45ef-87a9-7c931049db17">STR</Purpose_Code>
    <Division_Code xmlns="8173f6c5-f0bc-45ef-87a9-7c931049db17">DGT</Division_Code>
    <IsAFolder xmlns="8173f6c5-f0bc-45ef-87a9-7c931049db17">No</IsAFolde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4873CABD8F42A59AE690A3953068" ma:contentTypeVersion="30" ma:contentTypeDescription="Create a new document." ma:contentTypeScope="" ma:versionID="f9881918ccd84e0d8ed8ee6de9c8827d">
  <xsd:schema xmlns:xsd="http://www.w3.org/2001/XMLSchema" xmlns:xs="http://www.w3.org/2001/XMLSchema" xmlns:p="http://schemas.microsoft.com/office/2006/metadata/properties" xmlns:ns2="8173f6c5-f0bc-45ef-87a9-7c931049db17" xmlns:ns3="df9a1383-b10e-40d9-a004-a2e18fb89637" targetNamespace="http://schemas.microsoft.com/office/2006/metadata/properties" ma:root="true" ma:fieldsID="188c8e9cfd41a4f6c191c41b5732d974" ns2:_="" ns3:_="">
    <xsd:import namespace="8173f6c5-f0bc-45ef-87a9-7c931049db17"/>
    <xsd:import namespace="df9a1383-b10e-40d9-a004-a2e18fb896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Division" minOccurs="0"/>
                <xsd:element ref="ns2:Unit" minOccurs="0"/>
                <xsd:element ref="ns2:Initiative" minOccurs="0"/>
                <xsd:element ref="ns2:Blueprint" minOccurs="0"/>
                <xsd:element ref="ns2:Purpose" minOccurs="0"/>
                <xsd:element ref="ns2:Old_Filename" minOccurs="0"/>
                <xsd:element ref="ns2:FileDescription" minOccurs="0"/>
                <xsd:element ref="ns2:IsAFolder" minOccurs="0"/>
                <xsd:element ref="ns2:Purpose_Code" minOccurs="0"/>
                <xsd:element ref="ns2:Division_Code" minOccurs="0"/>
                <xsd:element ref="ns2:Unit_Code" minOccurs="0"/>
                <xsd:element ref="ns2:Blueprint_Code" minOccurs="0"/>
                <xsd:element ref="ns2:Initiative_Code" minOccurs="0"/>
                <xsd:element ref="ns2:Counte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73f6c5-f0bc-45ef-87a9-7c931049db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7d7ea87f-5523-4f3b-be41-7140a3f00e0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ivision" ma:index="22" nillable="true" ma:displayName="Division" ma:format="Dropdown" ma:internalName="Division">
      <xsd:simpleType>
        <xsd:restriction base="dms:Choice">
          <xsd:enumeration value="Construction Management Division"/>
          <xsd:enumeration value="Digital Transformation"/>
          <xsd:enumeration value="Engineering Architecture Division"/>
          <xsd:enumeration value="Engineering Project Delivery"/>
          <xsd:enumeration value="Enterprise Asset Management Office"/>
          <xsd:enumeration value="Operations"/>
          <xsd:enumeration value="Not applicable"/>
          <xsd:enumeration value="Quality Assurance Division"/>
        </xsd:restriction>
      </xsd:simpleType>
    </xsd:element>
    <xsd:element name="Unit" ma:index="23" nillable="true" ma:displayName="Unit" ma:format="Dropdown" ma:internalName="Unit">
      <xsd:simpleType>
        <xsd:restriction base="dms:Choice">
          <xsd:enumeration value="Alternative Project Delivery​"/>
          <xsd:enumeration value="Asset Management"/>
          <xsd:enumeration value="Central Survey Group"/>
          <xsd:enumeration value="CMD Contract Admin"/>
          <xsd:enumeration value="Construction Management Division (REO)"/>
          <xsd:enumeration value="Contracts"/>
          <xsd:enumeration value="Design"/>
          <xsd:enumeration value="Engineering Financial Services"/>
          <xsd:enumeration value="Engineering Project Delivery"/>
          <xsd:enumeration value="Engineering Solutions"/>
          <xsd:enumeration value="Estimating and Value Engineering"/>
          <xsd:enumeration value="Materials Engineering​"/>
          <xsd:enumeration value="QAD Construction Standards Unit​ / QAD Design Standards Unit"/>
          <xsd:enumeration value="Resiliency / Sustainability"/>
          <xsd:enumeration value="Scheduling"/>
          <xsd:enumeration value="Structural Integrity Unit"/>
          <xsd:enumeration value="Traffic​"/>
          <xsd:enumeration value="Virtual Design &amp; Construction"/>
          <xsd:enumeration value="Not applicable"/>
          <xsd:enumeration value="All"/>
        </xsd:restriction>
      </xsd:simpleType>
    </xsd:element>
    <xsd:element name="Initiative" ma:index="24" nillable="true" ma:displayName="Initiative" ma:format="Dropdown" ma:internalName="Initiative">
      <xsd:simpleType>
        <xsd:restriction base="dms:Choice">
          <xsd:enumeration value="Geospatial"/>
          <xsd:enumeration value="VDC"/>
          <xsd:enumeration value="Portal"/>
          <xsd:enumeration value="Information Systems Management"/>
          <xsd:enumeration value="Project Delivery"/>
          <xsd:enumeration value="Not applicable"/>
        </xsd:restriction>
      </xsd:simpleType>
    </xsd:element>
    <xsd:element name="Blueprint" ma:index="25" nillable="true" ma:displayName="Blueprint" ma:format="Dropdown" ma:internalName="Blueprint">
      <xsd:simpleType>
        <xsd:restriction base="dms:Choice">
          <xsd:enumeration value="Service Design"/>
          <xsd:enumeration value="Skills"/>
          <xsd:enumeration value="Procedures"/>
          <xsd:enumeration value="Technology"/>
          <xsd:enumeration value="Data"/>
          <xsd:enumeration value="Administration"/>
          <xsd:enumeration value="Execution Plan"/>
          <xsd:enumeration value="Not applicable"/>
        </xsd:restriction>
      </xsd:simpleType>
    </xsd:element>
    <xsd:element name="Purpose" ma:index="26" nillable="true" ma:displayName="Purpose" ma:format="Dropdown" ma:internalName="Purpose">
      <xsd:simpleType>
        <xsd:restriction base="dms:Choice">
          <xsd:enumeration value="Strategy"/>
          <xsd:enumeration value="Communications"/>
          <xsd:enumeration value="Transformation"/>
          <xsd:enumeration value="Initiative"/>
          <xsd:enumeration value="Other"/>
        </xsd:restriction>
      </xsd:simpleType>
    </xsd:element>
    <xsd:element name="Old_Filename" ma:index="27" nillable="true" ma:displayName="Old_Filename" ma:internalName="Old_Filename">
      <xsd:simpleType>
        <xsd:restriction base="dms:Text">
          <xsd:maxLength value="255"/>
        </xsd:restriction>
      </xsd:simpleType>
    </xsd:element>
    <xsd:element name="FileDescription" ma:index="28" nillable="true" ma:displayName="FileDescription" ma:format="Dropdown" ma:internalName="FileDescription">
      <xsd:simpleType>
        <xsd:restriction base="dms:Text">
          <xsd:maxLength value="255"/>
        </xsd:restriction>
      </xsd:simpleType>
    </xsd:element>
    <xsd:element name="IsAFolder" ma:index="29" nillable="true" ma:displayName="IsAFolder" ma:format="Dropdown" ma:internalName="IsAFolder">
      <xsd:simpleType>
        <xsd:restriction base="dms:Text">
          <xsd:maxLength value="255"/>
        </xsd:restriction>
      </xsd:simpleType>
    </xsd:element>
    <xsd:element name="Purpose_Code" ma:index="30" nillable="true" ma:displayName="Purpose_Code" ma:format="Dropdown" ma:internalName="Purpose_Code">
      <xsd:simpleType>
        <xsd:restriction base="dms:Text">
          <xsd:maxLength value="255"/>
        </xsd:restriction>
      </xsd:simpleType>
    </xsd:element>
    <xsd:element name="Division_Code" ma:index="31" nillable="true" ma:displayName="Division_Code" ma:format="Dropdown" ma:internalName="Division_Code">
      <xsd:simpleType>
        <xsd:restriction base="dms:Text">
          <xsd:maxLength value="255"/>
        </xsd:restriction>
      </xsd:simpleType>
    </xsd:element>
    <xsd:element name="Unit_Code" ma:index="32" nillable="true" ma:displayName="Unit_Code" ma:format="Dropdown" ma:internalName="Unit_Code">
      <xsd:simpleType>
        <xsd:restriction base="dms:Text">
          <xsd:maxLength value="255"/>
        </xsd:restriction>
      </xsd:simpleType>
    </xsd:element>
    <xsd:element name="Blueprint_Code" ma:index="33" nillable="true" ma:displayName="Blueprint_Code" ma:format="Dropdown" ma:internalName="Blueprint_Code">
      <xsd:simpleType>
        <xsd:restriction base="dms:Text">
          <xsd:maxLength value="255"/>
        </xsd:restriction>
      </xsd:simpleType>
    </xsd:element>
    <xsd:element name="Initiative_Code" ma:index="34" nillable="true" ma:displayName="Initiative_Code" ma:format="Dropdown" ma:internalName="Initiative_Code">
      <xsd:simpleType>
        <xsd:restriction base="dms:Text">
          <xsd:maxLength value="255"/>
        </xsd:restriction>
      </xsd:simpleType>
    </xsd:element>
    <xsd:element name="Counter" ma:index="35" nillable="true" ma:displayName="Counter" ma:default="1" ma:format="Dropdown" ma:internalName="Counter" ma:percentage="FALSE">
      <xsd:simpleType>
        <xsd:restriction base="dms:Number"/>
      </xsd:simpleType>
    </xsd:element>
    <xsd:element name="MediaServiceObjectDetectorVersions" ma:index="3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9a1383-b10e-40d9-a004-a2e18fb8963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24bf6ed4-ff0c-4ef4-943e-7e67df59ec6f}" ma:internalName="TaxCatchAll" ma:showField="CatchAllData" ma:web="df9a1383-b10e-40d9-a004-a2e18fb896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25ABE7-50B2-4A23-8A5C-742910DDF5AA}">
  <ds:schemaRefs>
    <ds:schemaRef ds:uri="8173f6c5-f0bc-45ef-87a9-7c931049db17"/>
    <ds:schemaRef ds:uri="df9a1383-b10e-40d9-a004-a2e18fb896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8085126-5E07-46AB-84E5-87465C7394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73f6c5-f0bc-45ef-87a9-7c931049db17"/>
    <ds:schemaRef ds:uri="df9a1383-b10e-40d9-a004-a2e18fb896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449FDCC-4747-4AD0-8864-56DC74509F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59</TotalTime>
  <Words>2031</Words>
  <Application>Microsoft Office PowerPoint</Application>
  <PresentationFormat>Custom</PresentationFormat>
  <Paragraphs>567</Paragraphs>
  <Slides>31</Slides>
  <Notes>2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Office Theme</vt:lpstr>
      <vt:lpstr>PowerPoint Presentation</vt:lpstr>
      <vt:lpstr>Speakers</vt:lpstr>
      <vt:lpstr>PowerPoint Presentation</vt:lpstr>
      <vt:lpstr>PowerPoint Presentation</vt:lpstr>
      <vt:lpstr>Engineering Department Organization</vt:lpstr>
      <vt:lpstr>Engineering Department Organization</vt:lpstr>
      <vt:lpstr>Digitally Transforming</vt:lpstr>
      <vt:lpstr>Top Findings for Improvement in 2022</vt:lpstr>
      <vt:lpstr>PowerPoint Presentation</vt:lpstr>
      <vt:lpstr>Digital Transformation Strategy</vt:lpstr>
      <vt:lpstr>Digital Transformation Organization</vt:lpstr>
      <vt:lpstr>Digital Transformation Team</vt:lpstr>
      <vt:lpstr>Digitalization Blueprint</vt:lpstr>
      <vt:lpstr>Our Methodology</vt:lpstr>
      <vt:lpstr>Operating Model</vt:lpstr>
      <vt:lpstr>Communications</vt:lpstr>
      <vt:lpstr>PowerPoint Presentation</vt:lpstr>
      <vt:lpstr>Unit Transformation Sprints</vt:lpstr>
      <vt:lpstr>Map Stakeholders and Value Proposition(s)</vt:lpstr>
      <vt:lpstr>Service and Capability </vt:lpstr>
      <vt:lpstr>Process</vt:lpstr>
      <vt:lpstr>Technology</vt:lpstr>
      <vt:lpstr>Technology</vt:lpstr>
      <vt:lpstr>Data</vt:lpstr>
      <vt:lpstr>Designing the Solution</vt:lpstr>
      <vt:lpstr>The Solution</vt:lpstr>
      <vt:lpstr>The Solution</vt:lpstr>
      <vt:lpstr>PowerPoint Presentation</vt:lpstr>
      <vt:lpstr>Maturity Roadmap</vt:lpstr>
      <vt:lpstr>Lessons Learne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ladova, Olga</dc:creator>
  <cp:lastModifiedBy>Beaumont, Wes</cp:lastModifiedBy>
  <cp:revision>8</cp:revision>
  <cp:lastPrinted>2022-12-12T22:03:51Z</cp:lastPrinted>
  <dcterms:created xsi:type="dcterms:W3CDTF">2018-10-12T18:21:30Z</dcterms:created>
  <dcterms:modified xsi:type="dcterms:W3CDTF">2024-02-10T12:0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4873CABD8F42A59AE690A3953068</vt:lpwstr>
  </property>
  <property fmtid="{D5CDD505-2E9C-101B-9397-08002B2CF9AE}" pid="3" name="MediaServiceImageTags">
    <vt:lpwstr/>
  </property>
</Properties>
</file>